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3"/>
  </p:notesMasterIdLst>
  <p:sldIdLst>
    <p:sldId id="350" r:id="rId2"/>
    <p:sldId id="1252" r:id="rId3"/>
    <p:sldId id="1253" r:id="rId4"/>
    <p:sldId id="691" r:id="rId5"/>
    <p:sldId id="401" r:id="rId6"/>
    <p:sldId id="1136" r:id="rId7"/>
    <p:sldId id="1255" r:id="rId8"/>
    <p:sldId id="370" r:id="rId9"/>
    <p:sldId id="1141" r:id="rId10"/>
    <p:sldId id="1256" r:id="rId11"/>
    <p:sldId id="397" r:id="rId12"/>
    <p:sldId id="1257" r:id="rId13"/>
    <p:sldId id="385" r:id="rId14"/>
    <p:sldId id="426" r:id="rId15"/>
    <p:sldId id="1258" r:id="rId16"/>
    <p:sldId id="411" r:id="rId17"/>
    <p:sldId id="1259" r:id="rId18"/>
    <p:sldId id="1260" r:id="rId19"/>
    <p:sldId id="1261" r:id="rId20"/>
    <p:sldId id="1262" r:id="rId21"/>
    <p:sldId id="1263" r:id="rId22"/>
    <p:sldId id="1160" r:id="rId23"/>
    <p:sldId id="1264" r:id="rId24"/>
    <p:sldId id="1266" r:id="rId25"/>
    <p:sldId id="1267" r:id="rId26"/>
    <p:sldId id="1272" r:id="rId27"/>
    <p:sldId id="1268" r:id="rId28"/>
    <p:sldId id="1270" r:id="rId29"/>
    <p:sldId id="1271" r:id="rId30"/>
    <p:sldId id="1273" r:id="rId31"/>
    <p:sldId id="1274" r:id="rId32"/>
    <p:sldId id="1275" r:id="rId33"/>
    <p:sldId id="1276" r:id="rId34"/>
    <p:sldId id="1277" r:id="rId35"/>
    <p:sldId id="1278" r:id="rId36"/>
    <p:sldId id="1099" r:id="rId37"/>
    <p:sldId id="1105" r:id="rId38"/>
    <p:sldId id="1279" r:id="rId39"/>
    <p:sldId id="1280" r:id="rId40"/>
    <p:sldId id="1281" r:id="rId41"/>
    <p:sldId id="1282" r:id="rId42"/>
    <p:sldId id="1231" r:id="rId43"/>
    <p:sldId id="1283" r:id="rId44"/>
    <p:sldId id="1284" r:id="rId45"/>
    <p:sldId id="1285" r:id="rId46"/>
    <p:sldId id="1286" r:id="rId47"/>
    <p:sldId id="1287" r:id="rId48"/>
    <p:sldId id="1289" r:id="rId49"/>
    <p:sldId id="1288" r:id="rId50"/>
    <p:sldId id="1291" r:id="rId51"/>
    <p:sldId id="1292" r:id="rId52"/>
  </p:sldIdLst>
  <p:sldSz cx="9144000" cy="5143500" type="screen16x9"/>
  <p:notesSz cx="7104063" cy="10234613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7B596C-D876-42C4-BC50-B91736D71345}" v="3214" dt="2023-02-07T10:31:36.0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54" d="100"/>
          <a:sy n="54" d="100"/>
        </p:scale>
        <p:origin x="1640" y="3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microsoft.com/office/2016/11/relationships/changesInfo" Target="changesInfos/changesInfo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na Ru" userId="a298bcda0a73aae4" providerId="LiveId" clId="{657B596C-D876-42C4-BC50-B91736D71345}"/>
    <pc:docChg chg="undo redo custSel addSld delSld modSld sldOrd">
      <pc:chgData name="Stina Ru" userId="a298bcda0a73aae4" providerId="LiveId" clId="{657B596C-D876-42C4-BC50-B91736D71345}" dt="2023-02-07T10:31:57.110" v="13660" actId="14100"/>
      <pc:docMkLst>
        <pc:docMk/>
      </pc:docMkLst>
      <pc:sldChg chg="del">
        <pc:chgData name="Stina Ru" userId="a298bcda0a73aae4" providerId="LiveId" clId="{657B596C-D876-42C4-BC50-B91736D71345}" dt="2023-02-05T21:30:21.270" v="16" actId="47"/>
        <pc:sldMkLst>
          <pc:docMk/>
          <pc:sldMk cId="1321143743" sldId="270"/>
        </pc:sldMkLst>
      </pc:sldChg>
      <pc:sldChg chg="addSp delSp modSp mod">
        <pc:chgData name="Stina Ru" userId="a298bcda0a73aae4" providerId="LiveId" clId="{657B596C-D876-42C4-BC50-B91736D71345}" dt="2023-02-05T21:30:07.116" v="12" actId="27636"/>
        <pc:sldMkLst>
          <pc:docMk/>
          <pc:sldMk cId="175173122" sldId="350"/>
        </pc:sldMkLst>
        <pc:spChg chg="del">
          <ac:chgData name="Stina Ru" userId="a298bcda0a73aae4" providerId="LiveId" clId="{657B596C-D876-42C4-BC50-B91736D71345}" dt="2023-02-05T21:29:48.683" v="0" actId="478"/>
          <ac:spMkLst>
            <pc:docMk/>
            <pc:sldMk cId="175173122" sldId="350"/>
            <ac:spMk id="2" creationId="{00000000-0000-0000-0000-000000000000}"/>
          </ac:spMkLst>
        </pc:spChg>
        <pc:spChg chg="add del mod">
          <ac:chgData name="Stina Ru" userId="a298bcda0a73aae4" providerId="LiveId" clId="{657B596C-D876-42C4-BC50-B91736D71345}" dt="2023-02-05T21:29:59.536" v="5" actId="478"/>
          <ac:spMkLst>
            <pc:docMk/>
            <pc:sldMk cId="175173122" sldId="350"/>
            <ac:spMk id="5" creationId="{507ADA9E-8498-EF32-EE67-C8DFB6A6BF00}"/>
          </ac:spMkLst>
        </pc:spChg>
        <pc:spChg chg="add mod">
          <ac:chgData name="Stina Ru" userId="a298bcda0a73aae4" providerId="LiveId" clId="{657B596C-D876-42C4-BC50-B91736D71345}" dt="2023-02-05T21:30:07.116" v="12" actId="27636"/>
          <ac:spMkLst>
            <pc:docMk/>
            <pc:sldMk cId="175173122" sldId="350"/>
            <ac:spMk id="6" creationId="{14E70323-0BA9-6C13-AD8D-63849D67221F}"/>
          </ac:spMkLst>
        </pc:spChg>
        <pc:picChg chg="mod">
          <ac:chgData name="Stina Ru" userId="a298bcda0a73aae4" providerId="LiveId" clId="{657B596C-D876-42C4-BC50-B91736D71345}" dt="2023-02-05T21:30:02.373" v="7" actId="1076"/>
          <ac:picMkLst>
            <pc:docMk/>
            <pc:sldMk cId="175173122" sldId="350"/>
            <ac:picMk id="9" creationId="{9630A345-5842-47A2-BA27-F0F55B82C24C}"/>
          </ac:picMkLst>
        </pc:picChg>
      </pc:sldChg>
      <pc:sldChg chg="addSp delSp modSp add del mod delAnim modAnim">
        <pc:chgData name="Stina Ru" userId="a298bcda0a73aae4" providerId="LiveId" clId="{657B596C-D876-42C4-BC50-B91736D71345}" dt="2023-02-06T21:23:56.303" v="12295" actId="114"/>
        <pc:sldMkLst>
          <pc:docMk/>
          <pc:sldMk cId="1191324758" sldId="370"/>
        </pc:sldMkLst>
        <pc:spChg chg="del">
          <ac:chgData name="Stina Ru" userId="a298bcda0a73aae4" providerId="LiveId" clId="{657B596C-D876-42C4-BC50-B91736D71345}" dt="2023-02-05T21:32:44.581" v="65" actId="478"/>
          <ac:spMkLst>
            <pc:docMk/>
            <pc:sldMk cId="1191324758" sldId="370"/>
            <ac:spMk id="2" creationId="{509DAE89-EA0E-3497-B915-8156CF899FCC}"/>
          </ac:spMkLst>
        </pc:spChg>
        <pc:spChg chg="add mod">
          <ac:chgData name="Stina Ru" userId="a298bcda0a73aae4" providerId="LiveId" clId="{657B596C-D876-42C4-BC50-B91736D71345}" dt="2023-02-06T21:23:56.303" v="12295" actId="114"/>
          <ac:spMkLst>
            <pc:docMk/>
            <pc:sldMk cId="1191324758" sldId="370"/>
            <ac:spMk id="3" creationId="{9E09FD2C-A829-395A-E897-6657A4F55A80}"/>
          </ac:spMkLst>
        </pc:spChg>
        <pc:spChg chg="mod">
          <ac:chgData name="Stina Ru" userId="a298bcda0a73aae4" providerId="LiveId" clId="{657B596C-D876-42C4-BC50-B91736D71345}" dt="2023-02-05T21:51:26.144" v="531" actId="1076"/>
          <ac:spMkLst>
            <pc:docMk/>
            <pc:sldMk cId="1191324758" sldId="370"/>
            <ac:spMk id="6" creationId="{070F7C74-9112-406B-A0CC-08F6DDA1D2AF}"/>
          </ac:spMkLst>
        </pc:spChg>
        <pc:spChg chg="del">
          <ac:chgData name="Stina Ru" userId="a298bcda0a73aae4" providerId="LiveId" clId="{657B596C-D876-42C4-BC50-B91736D71345}" dt="2023-02-05T21:32:42.292" v="64" actId="478"/>
          <ac:spMkLst>
            <pc:docMk/>
            <pc:sldMk cId="1191324758" sldId="370"/>
            <ac:spMk id="9" creationId="{620D96FE-D0E5-472A-B996-CC8E53B383F3}"/>
          </ac:spMkLst>
        </pc:spChg>
        <pc:spChg chg="mod">
          <ac:chgData name="Stina Ru" userId="a298bcda0a73aae4" providerId="LiveId" clId="{657B596C-D876-42C4-BC50-B91736D71345}" dt="2023-02-05T21:32:39.145" v="63" actId="20577"/>
          <ac:spMkLst>
            <pc:docMk/>
            <pc:sldMk cId="1191324758" sldId="370"/>
            <ac:spMk id="12" creationId="{13B203F9-1E27-4E57-902E-B40C20ADA7DF}"/>
          </ac:spMkLst>
        </pc:spChg>
      </pc:sldChg>
      <pc:sldChg chg="del">
        <pc:chgData name="Stina Ru" userId="a298bcda0a73aae4" providerId="LiveId" clId="{657B596C-D876-42C4-BC50-B91736D71345}" dt="2023-02-05T21:30:53.979" v="23" actId="47"/>
        <pc:sldMkLst>
          <pc:docMk/>
          <pc:sldMk cId="3528753163" sldId="384"/>
        </pc:sldMkLst>
      </pc:sldChg>
      <pc:sldChg chg="addSp delSp modSp add del mod addAnim delAnim modAnim">
        <pc:chgData name="Stina Ru" userId="a298bcda0a73aae4" providerId="LiveId" clId="{657B596C-D876-42C4-BC50-B91736D71345}" dt="2023-02-06T21:38:30.799" v="12385" actId="113"/>
        <pc:sldMkLst>
          <pc:docMk/>
          <pc:sldMk cId="762852499" sldId="385"/>
        </pc:sldMkLst>
        <pc:spChg chg="mod">
          <ac:chgData name="Stina Ru" userId="a298bcda0a73aae4" providerId="LiveId" clId="{657B596C-D876-42C4-BC50-B91736D71345}" dt="2023-02-05T22:20:22.696" v="1162" actId="1076"/>
          <ac:spMkLst>
            <pc:docMk/>
            <pc:sldMk cId="762852499" sldId="385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21:34:01.131" v="12367" actId="6549"/>
          <ac:spMkLst>
            <pc:docMk/>
            <pc:sldMk cId="762852499" sldId="385"/>
            <ac:spMk id="3" creationId="{62E373E2-E479-4B85-B011-875D0EA60F4A}"/>
          </ac:spMkLst>
        </pc:spChg>
        <pc:spChg chg="add del mod">
          <ac:chgData name="Stina Ru" userId="a298bcda0a73aae4" providerId="LiveId" clId="{657B596C-D876-42C4-BC50-B91736D71345}" dt="2023-02-05T22:18:57.333" v="1095"/>
          <ac:spMkLst>
            <pc:docMk/>
            <pc:sldMk cId="762852499" sldId="385"/>
            <ac:spMk id="6" creationId="{45F63770-A20B-0DBC-0F05-22ED2A3BB833}"/>
          </ac:spMkLst>
        </pc:spChg>
        <pc:spChg chg="add mod">
          <ac:chgData name="Stina Ru" userId="a298bcda0a73aae4" providerId="LiveId" clId="{657B596C-D876-42C4-BC50-B91736D71345}" dt="2023-02-06T21:38:27.899" v="12384" actId="113"/>
          <ac:spMkLst>
            <pc:docMk/>
            <pc:sldMk cId="762852499" sldId="385"/>
            <ac:spMk id="6" creationId="{BC5BA93B-EE8C-8E87-59E6-439981DB4863}"/>
          </ac:spMkLst>
        </pc:spChg>
        <pc:spChg chg="add mod">
          <ac:chgData name="Stina Ru" userId="a298bcda0a73aae4" providerId="LiveId" clId="{657B596C-D876-42C4-BC50-B91736D71345}" dt="2023-02-06T21:38:30.799" v="12385" actId="113"/>
          <ac:spMkLst>
            <pc:docMk/>
            <pc:sldMk cId="762852499" sldId="385"/>
            <ac:spMk id="7" creationId="{9EBDFD6D-E2FF-B818-6D96-E9F6BD6264BE}"/>
          </ac:spMkLst>
        </pc:spChg>
      </pc:sldChg>
      <pc:sldChg chg="del">
        <pc:chgData name="Stina Ru" userId="a298bcda0a73aae4" providerId="LiveId" clId="{657B596C-D876-42C4-BC50-B91736D71345}" dt="2023-02-05T21:30:54.216" v="24" actId="47"/>
        <pc:sldMkLst>
          <pc:docMk/>
          <pc:sldMk cId="1779322126" sldId="386"/>
        </pc:sldMkLst>
      </pc:sldChg>
      <pc:sldChg chg="del">
        <pc:chgData name="Stina Ru" userId="a298bcda0a73aae4" providerId="LiveId" clId="{657B596C-D876-42C4-BC50-B91736D71345}" dt="2023-02-05T21:30:52.908" v="21" actId="47"/>
        <pc:sldMkLst>
          <pc:docMk/>
          <pc:sldMk cId="90623037" sldId="387"/>
        </pc:sldMkLst>
      </pc:sldChg>
      <pc:sldChg chg="del">
        <pc:chgData name="Stina Ru" userId="a298bcda0a73aae4" providerId="LiveId" clId="{657B596C-D876-42C4-BC50-B91736D71345}" dt="2023-02-05T21:30:54.453" v="25" actId="47"/>
        <pc:sldMkLst>
          <pc:docMk/>
          <pc:sldMk cId="1304576398" sldId="388"/>
        </pc:sldMkLst>
      </pc:sldChg>
      <pc:sldChg chg="del">
        <pc:chgData name="Stina Ru" userId="a298bcda0a73aae4" providerId="LiveId" clId="{657B596C-D876-42C4-BC50-B91736D71345}" dt="2023-02-05T21:31:04.048" v="36" actId="47"/>
        <pc:sldMkLst>
          <pc:docMk/>
          <pc:sldMk cId="386491951" sldId="390"/>
        </pc:sldMkLst>
      </pc:sldChg>
      <pc:sldChg chg="del">
        <pc:chgData name="Stina Ru" userId="a298bcda0a73aae4" providerId="LiveId" clId="{657B596C-D876-42C4-BC50-B91736D71345}" dt="2023-02-05T21:30:55.634" v="30" actId="47"/>
        <pc:sldMkLst>
          <pc:docMk/>
          <pc:sldMk cId="3673802009" sldId="392"/>
        </pc:sldMkLst>
      </pc:sldChg>
      <pc:sldChg chg="modSp add del modAnim">
        <pc:chgData name="Stina Ru" userId="a298bcda0a73aae4" providerId="LiveId" clId="{657B596C-D876-42C4-BC50-B91736D71345}" dt="2023-02-05T21:48:54.199" v="527" actId="47"/>
        <pc:sldMkLst>
          <pc:docMk/>
          <pc:sldMk cId="187738170" sldId="393"/>
        </pc:sldMkLst>
        <pc:spChg chg="mod">
          <ac:chgData name="Stina Ru" userId="a298bcda0a73aae4" providerId="LiveId" clId="{657B596C-D876-42C4-BC50-B91736D71345}" dt="2023-02-05T21:48:41.177" v="523" actId="6549"/>
          <ac:spMkLst>
            <pc:docMk/>
            <pc:sldMk cId="187738170" sldId="393"/>
            <ac:spMk id="6" creationId="{070F7C74-9112-406B-A0CC-08F6DDA1D2AF}"/>
          </ac:spMkLst>
        </pc:spChg>
      </pc:sldChg>
      <pc:sldChg chg="del">
        <pc:chgData name="Stina Ru" userId="a298bcda0a73aae4" providerId="LiveId" clId="{657B596C-D876-42C4-BC50-B91736D71345}" dt="2023-02-05T21:30:56.267" v="32" actId="47"/>
        <pc:sldMkLst>
          <pc:docMk/>
          <pc:sldMk cId="50928729" sldId="394"/>
        </pc:sldMkLst>
      </pc:sldChg>
      <pc:sldChg chg="del">
        <pc:chgData name="Stina Ru" userId="a298bcda0a73aae4" providerId="LiveId" clId="{657B596C-D876-42C4-BC50-B91736D71345}" dt="2023-02-05T21:30:56.569" v="33" actId="47"/>
        <pc:sldMkLst>
          <pc:docMk/>
          <pc:sldMk cId="3399035251" sldId="395"/>
        </pc:sldMkLst>
      </pc:sldChg>
      <pc:sldChg chg="del">
        <pc:chgData name="Stina Ru" userId="a298bcda0a73aae4" providerId="LiveId" clId="{657B596C-D876-42C4-BC50-B91736D71345}" dt="2023-02-05T21:31:04.960" v="37" actId="47"/>
        <pc:sldMkLst>
          <pc:docMk/>
          <pc:sldMk cId="2456413679" sldId="396"/>
        </pc:sldMkLst>
      </pc:sldChg>
      <pc:sldChg chg="modSp add mod modAnim">
        <pc:chgData name="Stina Ru" userId="a298bcda0a73aae4" providerId="LiveId" clId="{657B596C-D876-42C4-BC50-B91736D71345}" dt="2023-02-06T21:29:40.321" v="12300"/>
        <pc:sldMkLst>
          <pc:docMk/>
          <pc:sldMk cId="1525154466" sldId="397"/>
        </pc:sldMkLst>
        <pc:spChg chg="mod">
          <ac:chgData name="Stina Ru" userId="a298bcda0a73aae4" providerId="LiveId" clId="{657B596C-D876-42C4-BC50-B91736D71345}" dt="2023-02-05T22:15:26.965" v="993" actId="207"/>
          <ac:spMkLst>
            <pc:docMk/>
            <pc:sldMk cId="1525154466" sldId="397"/>
            <ac:spMk id="6" creationId="{070F7C74-9112-406B-A0CC-08F6DDA1D2AF}"/>
          </ac:spMkLst>
        </pc:spChg>
      </pc:sldChg>
      <pc:sldChg chg="del">
        <pc:chgData name="Stina Ru" userId="a298bcda0a73aae4" providerId="LiveId" clId="{657B596C-D876-42C4-BC50-B91736D71345}" dt="2023-02-05T21:30:54.642" v="26" actId="47"/>
        <pc:sldMkLst>
          <pc:docMk/>
          <pc:sldMk cId="1748737559" sldId="398"/>
        </pc:sldMkLst>
      </pc:sldChg>
      <pc:sldChg chg="del">
        <pc:chgData name="Stina Ru" userId="a298bcda0a73aae4" providerId="LiveId" clId="{657B596C-D876-42C4-BC50-B91736D71345}" dt="2023-02-05T21:30:54.846" v="27" actId="47"/>
        <pc:sldMkLst>
          <pc:docMk/>
          <pc:sldMk cId="1530323663" sldId="399"/>
        </pc:sldMkLst>
      </pc:sldChg>
      <pc:sldChg chg="del">
        <pc:chgData name="Stina Ru" userId="a298bcda0a73aae4" providerId="LiveId" clId="{657B596C-D876-42C4-BC50-B91736D71345}" dt="2023-02-05T21:30:55.918" v="31" actId="47"/>
        <pc:sldMkLst>
          <pc:docMk/>
          <pc:sldMk cId="1963537176" sldId="400"/>
        </pc:sldMkLst>
      </pc:sldChg>
      <pc:sldChg chg="addSp modSp add del mod">
        <pc:chgData name="Stina Ru" userId="a298bcda0a73aae4" providerId="LiveId" clId="{657B596C-D876-42C4-BC50-B91736D71345}" dt="2023-02-05T21:36:56.570" v="152" actId="207"/>
        <pc:sldMkLst>
          <pc:docMk/>
          <pc:sldMk cId="3307257813" sldId="401"/>
        </pc:sldMkLst>
        <pc:spChg chg="add mod">
          <ac:chgData name="Stina Ru" userId="a298bcda0a73aae4" providerId="LiveId" clId="{657B596C-D876-42C4-BC50-B91736D71345}" dt="2023-02-05T21:36:56.570" v="152" actId="207"/>
          <ac:spMkLst>
            <pc:docMk/>
            <pc:sldMk cId="3307257813" sldId="401"/>
            <ac:spMk id="2" creationId="{13051118-FAF6-A6DC-17ED-C03C97782A85}"/>
          </ac:spMkLst>
        </pc:spChg>
        <pc:spChg chg="mod">
          <ac:chgData name="Stina Ru" userId="a298bcda0a73aae4" providerId="LiveId" clId="{657B596C-D876-42C4-BC50-B91736D71345}" dt="2023-02-05T21:36:54.794" v="151" actId="207"/>
          <ac:spMkLst>
            <pc:docMk/>
            <pc:sldMk cId="3307257813" sldId="401"/>
            <ac:spMk id="6" creationId="{070F7C74-9112-406B-A0CC-08F6DDA1D2AF}"/>
          </ac:spMkLst>
        </pc:spChg>
      </pc:sldChg>
      <pc:sldChg chg="add del">
        <pc:chgData name="Stina Ru" userId="a298bcda0a73aae4" providerId="LiveId" clId="{657B596C-D876-42C4-BC50-B91736D71345}" dt="2023-02-05T21:29:50.418" v="2"/>
        <pc:sldMkLst>
          <pc:docMk/>
          <pc:sldMk cId="1766340483" sldId="402"/>
        </pc:sldMkLst>
      </pc:sldChg>
      <pc:sldChg chg="addSp delSp modSp add mod modAnim">
        <pc:chgData name="Stina Ru" userId="a298bcda0a73aae4" providerId="LiveId" clId="{657B596C-D876-42C4-BC50-B91736D71345}" dt="2023-02-07T10:31:57.110" v="13660" actId="14100"/>
        <pc:sldMkLst>
          <pc:docMk/>
          <pc:sldMk cId="3655710997" sldId="411"/>
        </pc:sldMkLst>
        <pc:spChg chg="mod">
          <ac:chgData name="Stina Ru" userId="a298bcda0a73aae4" providerId="LiveId" clId="{657B596C-D876-42C4-BC50-B91736D71345}" dt="2023-02-07T10:29:23.504" v="13627" actId="20577"/>
          <ac:spMkLst>
            <pc:docMk/>
            <pc:sldMk cId="3655710997" sldId="411"/>
            <ac:spMk id="3" creationId="{8D38ACF7-9180-449A-B954-AE44592CA290}"/>
          </ac:spMkLst>
        </pc:spChg>
        <pc:graphicFrameChg chg="del mod">
          <ac:chgData name="Stina Ru" userId="a298bcda0a73aae4" providerId="LiveId" clId="{657B596C-D876-42C4-BC50-B91736D71345}" dt="2023-02-07T10:28:22.618" v="13545" actId="478"/>
          <ac:graphicFrameMkLst>
            <pc:docMk/>
            <pc:sldMk cId="3655710997" sldId="411"/>
            <ac:graphicFrameMk id="2" creationId="{7B5739BB-49AE-FC13-4A94-3859B2D8E538}"/>
          </ac:graphicFrameMkLst>
        </pc:graphicFrameChg>
        <pc:graphicFrameChg chg="add mod modGraphic">
          <ac:chgData name="Stina Ru" userId="a298bcda0a73aae4" providerId="LiveId" clId="{657B596C-D876-42C4-BC50-B91736D71345}" dt="2023-02-07T10:30:29.381" v="13648" actId="1076"/>
          <ac:graphicFrameMkLst>
            <pc:docMk/>
            <pc:sldMk cId="3655710997" sldId="411"/>
            <ac:graphicFrameMk id="5" creationId="{CBBFEFBA-63E0-6E8E-3470-A0994CFC8477}"/>
          </ac:graphicFrameMkLst>
        </pc:graphicFrameChg>
        <pc:graphicFrameChg chg="mod">
          <ac:chgData name="Stina Ru" userId="a298bcda0a73aae4" providerId="LiveId" clId="{657B596C-D876-42C4-BC50-B91736D71345}" dt="2023-02-07T10:28:53.744" v="13599" actId="1076"/>
          <ac:graphicFrameMkLst>
            <pc:docMk/>
            <pc:sldMk cId="3655710997" sldId="411"/>
            <ac:graphicFrameMk id="7" creationId="{B626CC5C-29B9-4A82-9168-EBE21AC7C19A}"/>
          </ac:graphicFrameMkLst>
        </pc:graphicFrameChg>
        <pc:cxnChg chg="mod">
          <ac:chgData name="Stina Ru" userId="a298bcda0a73aae4" providerId="LiveId" clId="{657B596C-D876-42C4-BC50-B91736D71345}" dt="2023-02-07T10:31:57.110" v="13660" actId="14100"/>
          <ac:cxnSpMkLst>
            <pc:docMk/>
            <pc:sldMk cId="3655710997" sldId="411"/>
            <ac:cxnSpMk id="6" creationId="{850818C6-E3A2-C65E-5BBA-4E41D2809A05}"/>
          </ac:cxnSpMkLst>
        </pc:cxnChg>
      </pc:sldChg>
      <pc:sldChg chg="modSp add del mod ord">
        <pc:chgData name="Stina Ru" userId="a298bcda0a73aae4" providerId="LiveId" clId="{657B596C-D876-42C4-BC50-B91736D71345}" dt="2023-02-05T21:35:58.248" v="148" actId="47"/>
        <pc:sldMkLst>
          <pc:docMk/>
          <pc:sldMk cId="498477678" sldId="417"/>
        </pc:sldMkLst>
        <pc:spChg chg="mod">
          <ac:chgData name="Stina Ru" userId="a298bcda0a73aae4" providerId="LiveId" clId="{657B596C-D876-42C4-BC50-B91736D71345}" dt="2023-02-05T21:34:33.160" v="82" actId="6549"/>
          <ac:spMkLst>
            <pc:docMk/>
            <pc:sldMk cId="498477678" sldId="417"/>
            <ac:spMk id="6" creationId="{070F7C74-9112-406B-A0CC-08F6DDA1D2AF}"/>
          </ac:spMkLst>
        </pc:spChg>
      </pc:sldChg>
      <pc:sldChg chg="add del">
        <pc:chgData name="Stina Ru" userId="a298bcda0a73aae4" providerId="LiveId" clId="{657B596C-D876-42C4-BC50-B91736D71345}" dt="2023-02-05T23:39:21.484" v="3955" actId="47"/>
        <pc:sldMkLst>
          <pc:docMk/>
          <pc:sldMk cId="617495542" sldId="421"/>
        </pc:sldMkLst>
      </pc:sldChg>
      <pc:sldChg chg="modSp add mod modAnim">
        <pc:chgData name="Stina Ru" userId="a298bcda0a73aae4" providerId="LiveId" clId="{657B596C-D876-42C4-BC50-B91736D71345}" dt="2023-02-07T10:07:20.838" v="13055"/>
        <pc:sldMkLst>
          <pc:docMk/>
          <pc:sldMk cId="153268180" sldId="426"/>
        </pc:sldMkLst>
        <pc:spChg chg="mod">
          <ac:chgData name="Stina Ru" userId="a298bcda0a73aae4" providerId="LiveId" clId="{657B596C-D876-42C4-BC50-B91736D71345}" dt="2023-02-06T21:39:11.694" v="12388" actId="1076"/>
          <ac:spMkLst>
            <pc:docMk/>
            <pc:sldMk cId="153268180" sldId="426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21:38:55.125" v="12387" actId="1076"/>
          <ac:spMkLst>
            <pc:docMk/>
            <pc:sldMk cId="153268180" sldId="426"/>
            <ac:spMk id="3" creationId="{62E373E2-E479-4B85-B011-875D0EA60F4A}"/>
          </ac:spMkLst>
        </pc:spChg>
      </pc:sldChg>
      <pc:sldChg chg="addSp modSp add mod">
        <pc:chgData name="Stina Ru" userId="a298bcda0a73aae4" providerId="LiveId" clId="{657B596C-D876-42C4-BC50-B91736D71345}" dt="2023-02-06T21:21:44.065" v="12176" actId="20577"/>
        <pc:sldMkLst>
          <pc:docMk/>
          <pc:sldMk cId="2973461479" sldId="691"/>
        </pc:sldMkLst>
        <pc:spChg chg="mod">
          <ac:chgData name="Stina Ru" userId="a298bcda0a73aae4" providerId="LiveId" clId="{657B596C-D876-42C4-BC50-B91736D71345}" dt="2023-02-05T21:58:35.427" v="943" actId="20577"/>
          <ac:spMkLst>
            <pc:docMk/>
            <pc:sldMk cId="2973461479" sldId="691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21:15:03.928" v="12103" actId="113"/>
          <ac:spMkLst>
            <pc:docMk/>
            <pc:sldMk cId="2973461479" sldId="691"/>
            <ac:spMk id="3" creationId="{0EBE899E-D4B3-37EB-C706-EE2BF648C3A7}"/>
          </ac:spMkLst>
        </pc:spChg>
        <pc:spChg chg="add mod">
          <ac:chgData name="Stina Ru" userId="a298bcda0a73aae4" providerId="LiveId" clId="{657B596C-D876-42C4-BC50-B91736D71345}" dt="2023-02-06T21:21:37.172" v="12167" actId="1076"/>
          <ac:spMkLst>
            <pc:docMk/>
            <pc:sldMk cId="2973461479" sldId="691"/>
            <ac:spMk id="4" creationId="{411FD748-3C80-85D0-CF64-853DA04775B1}"/>
          </ac:spMkLst>
        </pc:spChg>
        <pc:spChg chg="add mod">
          <ac:chgData name="Stina Ru" userId="a298bcda0a73aae4" providerId="LiveId" clId="{657B596C-D876-42C4-BC50-B91736D71345}" dt="2023-02-06T21:21:44.065" v="12176" actId="20577"/>
          <ac:spMkLst>
            <pc:docMk/>
            <pc:sldMk cId="2973461479" sldId="691"/>
            <ac:spMk id="5" creationId="{D91A04F7-11EC-E22D-B473-9D3EEB1D5191}"/>
          </ac:spMkLst>
        </pc:spChg>
      </pc:sldChg>
      <pc:sldChg chg="addSp delSp modSp add mod modAnim">
        <pc:chgData name="Stina Ru" userId="a298bcda0a73aae4" providerId="LiveId" clId="{657B596C-D876-42C4-BC50-B91736D71345}" dt="2023-02-06T18:41:44.458" v="7245" actId="692"/>
        <pc:sldMkLst>
          <pc:docMk/>
          <pc:sldMk cId="3022998504" sldId="1099"/>
        </pc:sldMkLst>
        <pc:spChg chg="mod">
          <ac:chgData name="Stina Ru" userId="a298bcda0a73aae4" providerId="LiveId" clId="{657B596C-D876-42C4-BC50-B91736D71345}" dt="2023-02-06T18:40:54.973" v="7240" actId="1076"/>
          <ac:spMkLst>
            <pc:docMk/>
            <pc:sldMk cId="3022998504" sldId="1099"/>
            <ac:spMk id="3" creationId="{62E373E2-E479-4B85-B011-875D0EA60F4A}"/>
          </ac:spMkLst>
        </pc:spChg>
        <pc:spChg chg="mod">
          <ac:chgData name="Stina Ru" userId="a298bcda0a73aae4" providerId="LiveId" clId="{657B596C-D876-42C4-BC50-B91736D71345}" dt="2023-02-06T18:40:52.384" v="7239" actId="1076"/>
          <ac:spMkLst>
            <pc:docMk/>
            <pc:sldMk cId="3022998504" sldId="1099"/>
            <ac:spMk id="6" creationId="{98E50636-68BE-EE0C-5CD6-C493DBC0B795}"/>
          </ac:spMkLst>
        </pc:spChg>
        <pc:spChg chg="add mod">
          <ac:chgData name="Stina Ru" userId="a298bcda0a73aae4" providerId="LiveId" clId="{657B596C-D876-42C4-BC50-B91736D71345}" dt="2023-02-06T18:35:48.922" v="7172" actId="1076"/>
          <ac:spMkLst>
            <pc:docMk/>
            <pc:sldMk cId="3022998504" sldId="1099"/>
            <ac:spMk id="7" creationId="{7219F324-C2D7-F78C-A6D1-DB4674510008}"/>
          </ac:spMkLst>
        </pc:spChg>
        <pc:spChg chg="add mod">
          <ac:chgData name="Stina Ru" userId="a298bcda0a73aae4" providerId="LiveId" clId="{657B596C-D876-42C4-BC50-B91736D71345}" dt="2023-02-06T18:38:01.240" v="7203" actId="1076"/>
          <ac:spMkLst>
            <pc:docMk/>
            <pc:sldMk cId="3022998504" sldId="1099"/>
            <ac:spMk id="11" creationId="{95B031D6-F928-CA22-A95F-5DC9D799419E}"/>
          </ac:spMkLst>
        </pc:spChg>
        <pc:spChg chg="add mod">
          <ac:chgData name="Stina Ru" userId="a298bcda0a73aae4" providerId="LiveId" clId="{657B596C-D876-42C4-BC50-B91736D71345}" dt="2023-02-06T18:38:10.317" v="7205" actId="1076"/>
          <ac:spMkLst>
            <pc:docMk/>
            <pc:sldMk cId="3022998504" sldId="1099"/>
            <ac:spMk id="12" creationId="{4668E8AF-B5F8-5101-CFA3-1A0B39CBEA05}"/>
          </ac:spMkLst>
        </pc:spChg>
        <pc:spChg chg="add mod">
          <ac:chgData name="Stina Ru" userId="a298bcda0a73aae4" providerId="LiveId" clId="{657B596C-D876-42C4-BC50-B91736D71345}" dt="2023-02-06T18:38:35.948" v="7238" actId="20577"/>
          <ac:spMkLst>
            <pc:docMk/>
            <pc:sldMk cId="3022998504" sldId="1099"/>
            <ac:spMk id="13" creationId="{4B88796A-1829-BD26-83ED-E9FB74489086}"/>
          </ac:spMkLst>
        </pc:spChg>
        <pc:graphicFrameChg chg="add mod modGraphic">
          <ac:chgData name="Stina Ru" userId="a298bcda0a73aae4" providerId="LiveId" clId="{657B596C-D876-42C4-BC50-B91736D71345}" dt="2023-02-06T18:37:41.527" v="7201" actId="14734"/>
          <ac:graphicFrameMkLst>
            <pc:docMk/>
            <pc:sldMk cId="3022998504" sldId="1099"/>
            <ac:graphicFrameMk id="10" creationId="{BD75072E-F5D8-A51B-077C-983F233AC6AF}"/>
          </ac:graphicFrameMkLst>
        </pc:graphicFrameChg>
        <pc:picChg chg="add mod">
          <ac:chgData name="Stina Ru" userId="a298bcda0a73aae4" providerId="LiveId" clId="{657B596C-D876-42C4-BC50-B91736D71345}" dt="2023-02-06T18:40:57.904" v="7241" actId="1076"/>
          <ac:picMkLst>
            <pc:docMk/>
            <pc:sldMk cId="3022998504" sldId="1099"/>
            <ac:picMk id="8" creationId="{44AD2665-DD5F-80B3-461D-27EE79A96F61}"/>
          </ac:picMkLst>
        </pc:picChg>
        <pc:picChg chg="add del mod">
          <ac:chgData name="Stina Ru" userId="a298bcda0a73aae4" providerId="LiveId" clId="{657B596C-D876-42C4-BC50-B91736D71345}" dt="2023-02-06T18:36:46.625" v="7178"/>
          <ac:picMkLst>
            <pc:docMk/>
            <pc:sldMk cId="3022998504" sldId="1099"/>
            <ac:picMk id="9" creationId="{D3FA6A76-20A2-0D4F-7045-635E77A69927}"/>
          </ac:picMkLst>
        </pc:picChg>
        <pc:cxnChg chg="add mod">
          <ac:chgData name="Stina Ru" userId="a298bcda0a73aae4" providerId="LiveId" clId="{657B596C-D876-42C4-BC50-B91736D71345}" dt="2023-02-06T18:41:44.458" v="7245" actId="692"/>
          <ac:cxnSpMkLst>
            <pc:docMk/>
            <pc:sldMk cId="3022998504" sldId="1099"/>
            <ac:cxnSpMk id="15" creationId="{C2F37B17-A543-3C78-7FC1-AE1B304AFEBA}"/>
          </ac:cxnSpMkLst>
        </pc:cxnChg>
      </pc:sldChg>
      <pc:sldChg chg="delSp modSp add mod delAnim">
        <pc:chgData name="Stina Ru" userId="a298bcda0a73aae4" providerId="LiveId" clId="{657B596C-D876-42C4-BC50-B91736D71345}" dt="2023-02-06T22:01:43.929" v="12606" actId="207"/>
        <pc:sldMkLst>
          <pc:docMk/>
          <pc:sldMk cId="2472513695" sldId="1105"/>
        </pc:sldMkLst>
        <pc:spChg chg="mod">
          <ac:chgData name="Stina Ru" userId="a298bcda0a73aae4" providerId="LiveId" clId="{657B596C-D876-42C4-BC50-B91736D71345}" dt="2023-02-06T22:01:43.929" v="12606" actId="207"/>
          <ac:spMkLst>
            <pc:docMk/>
            <pc:sldMk cId="2472513695" sldId="1105"/>
            <ac:spMk id="3" creationId="{62E373E2-E479-4B85-B011-875D0EA60F4A}"/>
          </ac:spMkLst>
        </pc:spChg>
        <pc:spChg chg="del">
          <ac:chgData name="Stina Ru" userId="a298bcda0a73aae4" providerId="LiveId" clId="{657B596C-D876-42C4-BC50-B91736D71345}" dt="2023-02-06T18:44:55.714" v="7270" actId="478"/>
          <ac:spMkLst>
            <pc:docMk/>
            <pc:sldMk cId="2472513695" sldId="1105"/>
            <ac:spMk id="7" creationId="{BD516E0D-9642-CF29-5013-0E911A71AD74}"/>
          </ac:spMkLst>
        </pc:spChg>
        <pc:spChg chg="del">
          <ac:chgData name="Stina Ru" userId="a298bcda0a73aae4" providerId="LiveId" clId="{657B596C-D876-42C4-BC50-B91736D71345}" dt="2023-02-06T18:44:49.886" v="7268" actId="478"/>
          <ac:spMkLst>
            <pc:docMk/>
            <pc:sldMk cId="2472513695" sldId="1105"/>
            <ac:spMk id="9" creationId="{53151846-76E7-5BD3-2DBB-71E2C6DD06FD}"/>
          </ac:spMkLst>
        </pc:spChg>
        <pc:spChg chg="del">
          <ac:chgData name="Stina Ru" userId="a298bcda0a73aae4" providerId="LiveId" clId="{657B596C-D876-42C4-BC50-B91736D71345}" dt="2023-02-06T18:44:52.381" v="7269" actId="478"/>
          <ac:spMkLst>
            <pc:docMk/>
            <pc:sldMk cId="2472513695" sldId="1105"/>
            <ac:spMk id="10" creationId="{E02FC6C6-07F5-4D9B-AB0C-88DD76CB150B}"/>
          </ac:spMkLst>
        </pc:spChg>
        <pc:picChg chg="mod">
          <ac:chgData name="Stina Ru" userId="a298bcda0a73aae4" providerId="LiveId" clId="{657B596C-D876-42C4-BC50-B91736D71345}" dt="2023-02-06T18:44:24.140" v="7248" actId="14100"/>
          <ac:picMkLst>
            <pc:docMk/>
            <pc:sldMk cId="2472513695" sldId="1105"/>
            <ac:picMk id="8" creationId="{78861A5F-F8D4-6F4D-1B91-667772710955}"/>
          </ac:picMkLst>
        </pc:picChg>
      </pc:sldChg>
      <pc:sldChg chg="addSp modSp add mod modAnim">
        <pc:chgData name="Stina Ru" userId="a298bcda0a73aae4" providerId="LiveId" clId="{657B596C-D876-42C4-BC50-B91736D71345}" dt="2023-02-06T21:20:48.648" v="12145" actId="20577"/>
        <pc:sldMkLst>
          <pc:docMk/>
          <pc:sldMk cId="3858679762" sldId="1136"/>
        </pc:sldMkLst>
        <pc:spChg chg="add mod">
          <ac:chgData name="Stina Ru" userId="a298bcda0a73aae4" providerId="LiveId" clId="{657B596C-D876-42C4-BC50-B91736D71345}" dt="2023-02-05T21:43:41.168" v="277" actId="1076"/>
          <ac:spMkLst>
            <pc:docMk/>
            <pc:sldMk cId="3858679762" sldId="1136"/>
            <ac:spMk id="6" creationId="{168B3B23-B06A-529E-FB56-B8BC66EF21C1}"/>
          </ac:spMkLst>
        </pc:spChg>
        <pc:spChg chg="mod">
          <ac:chgData name="Stina Ru" userId="a298bcda0a73aae4" providerId="LiveId" clId="{657B596C-D876-42C4-BC50-B91736D71345}" dt="2023-02-05T21:39:04.990" v="176" actId="20577"/>
          <ac:spMkLst>
            <pc:docMk/>
            <pc:sldMk cId="3858679762" sldId="1136"/>
            <ac:spMk id="7" creationId="{9149A9D2-823C-2959-6654-07D87DE3C271}"/>
          </ac:spMkLst>
        </pc:spChg>
        <pc:spChg chg="add mod">
          <ac:chgData name="Stina Ru" userId="a298bcda0a73aae4" providerId="LiveId" clId="{657B596C-D876-42C4-BC50-B91736D71345}" dt="2023-02-06T21:20:48.648" v="12145" actId="20577"/>
          <ac:spMkLst>
            <pc:docMk/>
            <pc:sldMk cId="3858679762" sldId="1136"/>
            <ac:spMk id="8" creationId="{ED1221E4-B07E-54C3-B88B-E5443B834047}"/>
          </ac:spMkLst>
        </pc:spChg>
        <pc:spChg chg="add mod">
          <ac:chgData name="Stina Ru" userId="a298bcda0a73aae4" providerId="LiveId" clId="{657B596C-D876-42C4-BC50-B91736D71345}" dt="2023-02-06T21:20:38.596" v="12144" actId="113"/>
          <ac:spMkLst>
            <pc:docMk/>
            <pc:sldMk cId="3858679762" sldId="1136"/>
            <ac:spMk id="9" creationId="{D604F474-5D87-6F0D-B896-85B0C75AC65A}"/>
          </ac:spMkLst>
        </pc:spChg>
        <pc:spChg chg="add mod">
          <ac:chgData name="Stina Ru" userId="a298bcda0a73aae4" providerId="LiveId" clId="{657B596C-D876-42C4-BC50-B91736D71345}" dt="2023-02-05T21:46:08.703" v="458" actId="20577"/>
          <ac:spMkLst>
            <pc:docMk/>
            <pc:sldMk cId="3858679762" sldId="1136"/>
            <ac:spMk id="11" creationId="{E1EBED62-0A09-7B33-BBD0-39432914D988}"/>
          </ac:spMkLst>
        </pc:spChg>
        <pc:spChg chg="add mod">
          <ac:chgData name="Stina Ru" userId="a298bcda0a73aae4" providerId="LiveId" clId="{657B596C-D876-42C4-BC50-B91736D71345}" dt="2023-02-05T21:45:29.512" v="427" actId="1076"/>
          <ac:spMkLst>
            <pc:docMk/>
            <pc:sldMk cId="3858679762" sldId="1136"/>
            <ac:spMk id="12" creationId="{EE6A8082-CCF3-940B-4203-E05E7DB9391D}"/>
          </ac:spMkLst>
        </pc:spChg>
        <pc:spChg chg="add mod">
          <ac:chgData name="Stina Ru" userId="a298bcda0a73aae4" providerId="LiveId" clId="{657B596C-D876-42C4-BC50-B91736D71345}" dt="2023-02-05T21:46:47.808" v="510" actId="1076"/>
          <ac:spMkLst>
            <pc:docMk/>
            <pc:sldMk cId="3858679762" sldId="1136"/>
            <ac:spMk id="13" creationId="{5C433220-BA12-2DC6-5CBA-03BF1F197798}"/>
          </ac:spMkLst>
        </pc:spChg>
        <pc:spChg chg="add mod">
          <ac:chgData name="Stina Ru" userId="a298bcda0a73aae4" providerId="LiveId" clId="{657B596C-D876-42C4-BC50-B91736D71345}" dt="2023-02-05T21:46:57.224" v="512" actId="1076"/>
          <ac:spMkLst>
            <pc:docMk/>
            <pc:sldMk cId="3858679762" sldId="1136"/>
            <ac:spMk id="14" creationId="{5F57B453-5FA6-3E10-1B9E-B84A9B4BADAE}"/>
          </ac:spMkLst>
        </pc:spChg>
        <pc:graphicFrameChg chg="add mod modGraphic">
          <ac:chgData name="Stina Ru" userId="a298bcda0a73aae4" providerId="LiveId" clId="{657B596C-D876-42C4-BC50-B91736D71345}" dt="2023-02-05T21:45:05.014" v="306" actId="1076"/>
          <ac:graphicFrameMkLst>
            <pc:docMk/>
            <pc:sldMk cId="3858679762" sldId="1136"/>
            <ac:graphicFrameMk id="3" creationId="{C4EA4AB3-B204-E2CE-3C9A-B622B75AA35A}"/>
          </ac:graphicFrameMkLst>
        </pc:graphicFrameChg>
      </pc:sldChg>
      <pc:sldChg chg="addSp modSp add mod modAnim">
        <pc:chgData name="Stina Ru" userId="a298bcda0a73aae4" providerId="LiveId" clId="{657B596C-D876-42C4-BC50-B91736D71345}" dt="2023-02-06T21:25:13.793" v="12299"/>
        <pc:sldMkLst>
          <pc:docMk/>
          <pc:sldMk cId="4017673478" sldId="1141"/>
        </pc:sldMkLst>
        <pc:spChg chg="add mod">
          <ac:chgData name="Stina Ru" userId="a298bcda0a73aae4" providerId="LiveId" clId="{657B596C-D876-42C4-BC50-B91736D71345}" dt="2023-02-05T21:56:28.914" v="916" actId="113"/>
          <ac:spMkLst>
            <pc:docMk/>
            <pc:sldMk cId="4017673478" sldId="1141"/>
            <ac:spMk id="3" creationId="{1522DDA5-D9CE-0DF5-DDEF-BE54E9ED6161}"/>
          </ac:spMkLst>
        </pc:spChg>
        <pc:spChg chg="mod">
          <ac:chgData name="Stina Ru" userId="a298bcda0a73aae4" providerId="LiveId" clId="{657B596C-D876-42C4-BC50-B91736D71345}" dt="2023-02-05T21:54:15.680" v="619" actId="14100"/>
          <ac:spMkLst>
            <pc:docMk/>
            <pc:sldMk cId="4017673478" sldId="1141"/>
            <ac:spMk id="7" creationId="{9149A9D2-823C-2959-6654-07D87DE3C271}"/>
          </ac:spMkLst>
        </pc:spChg>
      </pc:sldChg>
      <pc:sldChg chg="addSp delSp modSp add mod modAnim">
        <pc:chgData name="Stina Ru" userId="a298bcda0a73aae4" providerId="LiveId" clId="{657B596C-D876-42C4-BC50-B91736D71345}" dt="2023-02-06T21:47:16.705" v="12415"/>
        <pc:sldMkLst>
          <pc:docMk/>
          <pc:sldMk cId="2989420872" sldId="1160"/>
        </pc:sldMkLst>
        <pc:spChg chg="mod">
          <ac:chgData name="Stina Ru" userId="a298bcda0a73aae4" providerId="LiveId" clId="{657B596C-D876-42C4-BC50-B91736D71345}" dt="2023-02-05T23:26:58.243" v="3640" actId="20577"/>
          <ac:spMkLst>
            <pc:docMk/>
            <pc:sldMk cId="2989420872" sldId="1160"/>
            <ac:spMk id="3" creationId="{62E373E2-E479-4B85-B011-875D0EA60F4A}"/>
          </ac:spMkLst>
        </pc:spChg>
        <pc:spChg chg="mod">
          <ac:chgData name="Stina Ru" userId="a298bcda0a73aae4" providerId="LiveId" clId="{657B596C-D876-42C4-BC50-B91736D71345}" dt="2023-02-05T23:26:09.359" v="3599" actId="1076"/>
          <ac:spMkLst>
            <pc:docMk/>
            <pc:sldMk cId="2989420872" sldId="1160"/>
            <ac:spMk id="6" creationId="{5C7A25CD-0180-89A7-CF32-AB657074B36B}"/>
          </ac:spMkLst>
        </pc:spChg>
        <pc:spChg chg="mod">
          <ac:chgData name="Stina Ru" userId="a298bcda0a73aae4" providerId="LiveId" clId="{657B596C-D876-42C4-BC50-B91736D71345}" dt="2023-02-05T23:26:25.952" v="3604" actId="1076"/>
          <ac:spMkLst>
            <pc:docMk/>
            <pc:sldMk cId="2989420872" sldId="1160"/>
            <ac:spMk id="7" creationId="{1AF2F928-C544-C231-4B5D-97A9F7A7F6F6}"/>
          </ac:spMkLst>
        </pc:spChg>
        <pc:spChg chg="mod">
          <ac:chgData name="Stina Ru" userId="a298bcda0a73aae4" providerId="LiveId" clId="{657B596C-D876-42C4-BC50-B91736D71345}" dt="2023-02-05T23:26:12.831" v="3600" actId="1076"/>
          <ac:spMkLst>
            <pc:docMk/>
            <pc:sldMk cId="2989420872" sldId="1160"/>
            <ac:spMk id="8" creationId="{DDB9F6A4-1FC5-7F4F-008E-A80A218C0EAF}"/>
          </ac:spMkLst>
        </pc:spChg>
        <pc:spChg chg="mod">
          <ac:chgData name="Stina Ru" userId="a298bcda0a73aae4" providerId="LiveId" clId="{657B596C-D876-42C4-BC50-B91736D71345}" dt="2023-02-05T23:26:20.736" v="3602" actId="1076"/>
          <ac:spMkLst>
            <pc:docMk/>
            <pc:sldMk cId="2989420872" sldId="1160"/>
            <ac:spMk id="9" creationId="{CF88BD5F-3C66-7A6F-7863-76851A0C765A}"/>
          </ac:spMkLst>
        </pc:spChg>
        <pc:spChg chg="mod">
          <ac:chgData name="Stina Ru" userId="a298bcda0a73aae4" providerId="LiveId" clId="{657B596C-D876-42C4-BC50-B91736D71345}" dt="2023-02-05T23:26:31.210" v="3605" actId="1076"/>
          <ac:spMkLst>
            <pc:docMk/>
            <pc:sldMk cId="2989420872" sldId="1160"/>
            <ac:spMk id="10" creationId="{FBEABEE8-0A08-F7DF-40E0-E82D85EF72DC}"/>
          </ac:spMkLst>
        </pc:spChg>
        <pc:spChg chg="add del">
          <ac:chgData name="Stina Ru" userId="a298bcda0a73aae4" providerId="LiveId" clId="{657B596C-D876-42C4-BC50-B91736D71345}" dt="2023-02-05T23:22:37.734" v="3299" actId="11529"/>
          <ac:spMkLst>
            <pc:docMk/>
            <pc:sldMk cId="2989420872" sldId="1160"/>
            <ac:spMk id="18" creationId="{820634E7-3709-EA2F-714F-2F270C9998B9}"/>
          </ac:spMkLst>
        </pc:spChg>
        <pc:cxnChg chg="add mod">
          <ac:chgData name="Stina Ru" userId="a298bcda0a73aae4" providerId="LiveId" clId="{657B596C-D876-42C4-BC50-B91736D71345}" dt="2023-02-05T23:26:15.376" v="3601" actId="14100"/>
          <ac:cxnSpMkLst>
            <pc:docMk/>
            <pc:sldMk cId="2989420872" sldId="1160"/>
            <ac:cxnSpMk id="11" creationId="{5A71698C-2554-6DD9-454A-E73D1DC4D8DF}"/>
          </ac:cxnSpMkLst>
        </pc:cxnChg>
        <pc:cxnChg chg="mod">
          <ac:chgData name="Stina Ru" userId="a298bcda0a73aae4" providerId="LiveId" clId="{657B596C-D876-42C4-BC50-B91736D71345}" dt="2023-02-05T23:26:05.296" v="3597" actId="1076"/>
          <ac:cxnSpMkLst>
            <pc:docMk/>
            <pc:sldMk cId="2989420872" sldId="1160"/>
            <ac:cxnSpMk id="19" creationId="{3EC0F2F8-FE82-E2D8-21C2-3CD9DFAC653A}"/>
          </ac:cxnSpMkLst>
        </pc:cxnChg>
        <pc:cxnChg chg="add mod">
          <ac:chgData name="Stina Ru" userId="a298bcda0a73aae4" providerId="LiveId" clId="{657B596C-D876-42C4-BC50-B91736D71345}" dt="2023-02-05T23:26:34.248" v="3606" actId="1076"/>
          <ac:cxnSpMkLst>
            <pc:docMk/>
            <pc:sldMk cId="2989420872" sldId="1160"/>
            <ac:cxnSpMk id="21" creationId="{8805AFBB-5557-C714-3A15-DB12A6796045}"/>
          </ac:cxnSpMkLst>
        </pc:cxnChg>
      </pc:sldChg>
      <pc:sldChg chg="addSp delSp modSp add mod modAnim">
        <pc:chgData name="Stina Ru" userId="a298bcda0a73aae4" providerId="LiveId" clId="{657B596C-D876-42C4-BC50-B91736D71345}" dt="2023-02-06T22:15:31.553" v="12834" actId="1076"/>
        <pc:sldMkLst>
          <pc:docMk/>
          <pc:sldMk cId="4137465518" sldId="1231"/>
        </pc:sldMkLst>
        <pc:spChg chg="mod">
          <ac:chgData name="Stina Ru" userId="a298bcda0a73aae4" providerId="LiveId" clId="{657B596C-D876-42C4-BC50-B91736D71345}" dt="2023-02-06T20:23:49.609" v="9828"/>
          <ac:spMkLst>
            <pc:docMk/>
            <pc:sldMk cId="4137465518" sldId="1231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20:26:20.407" v="9844" actId="1076"/>
          <ac:spMkLst>
            <pc:docMk/>
            <pc:sldMk cId="4137465518" sldId="1231"/>
            <ac:spMk id="3" creationId="{62E373E2-E479-4B85-B011-875D0EA60F4A}"/>
          </ac:spMkLst>
        </pc:spChg>
        <pc:spChg chg="del">
          <ac:chgData name="Stina Ru" userId="a298bcda0a73aae4" providerId="LiveId" clId="{657B596C-D876-42C4-BC50-B91736D71345}" dt="2023-02-06T20:24:53.349" v="9836" actId="478"/>
          <ac:spMkLst>
            <pc:docMk/>
            <pc:sldMk cId="4137465518" sldId="1231"/>
            <ac:spMk id="4" creationId="{61BBE3A1-BA86-4586-8510-822654A43289}"/>
          </ac:spMkLst>
        </pc:spChg>
        <pc:spChg chg="add mod">
          <ac:chgData name="Stina Ru" userId="a298bcda0a73aae4" providerId="LiveId" clId="{657B596C-D876-42C4-BC50-B91736D71345}" dt="2023-02-06T20:24:53.921" v="9837"/>
          <ac:spMkLst>
            <pc:docMk/>
            <pc:sldMk cId="4137465518" sldId="1231"/>
            <ac:spMk id="7" creationId="{7C4257BF-2EA6-570B-A807-586168868FF4}"/>
          </ac:spMkLst>
        </pc:spChg>
        <pc:spChg chg="add mod">
          <ac:chgData name="Stina Ru" userId="a298bcda0a73aae4" providerId="LiveId" clId="{657B596C-D876-42C4-BC50-B91736D71345}" dt="2023-02-06T22:15:31.553" v="12834" actId="1076"/>
          <ac:spMkLst>
            <pc:docMk/>
            <pc:sldMk cId="4137465518" sldId="1231"/>
            <ac:spMk id="8" creationId="{5D78AD34-091E-2206-2869-B85F49E25BD7}"/>
          </ac:spMkLst>
        </pc:spChg>
        <pc:spChg chg="add mod">
          <ac:chgData name="Stina Ru" userId="a298bcda0a73aae4" providerId="LiveId" clId="{657B596C-D876-42C4-BC50-B91736D71345}" dt="2023-02-06T20:29:56.845" v="9914" actId="20577"/>
          <ac:spMkLst>
            <pc:docMk/>
            <pc:sldMk cId="4137465518" sldId="1231"/>
            <ac:spMk id="9" creationId="{2D539417-4D55-B2CD-EE21-5A7761F0BED6}"/>
          </ac:spMkLst>
        </pc:spChg>
        <pc:spChg chg="add mod">
          <ac:chgData name="Stina Ru" userId="a298bcda0a73aae4" providerId="LiveId" clId="{657B596C-D876-42C4-BC50-B91736D71345}" dt="2023-02-06T20:29:48.244" v="9912" actId="1076"/>
          <ac:spMkLst>
            <pc:docMk/>
            <pc:sldMk cId="4137465518" sldId="1231"/>
            <ac:spMk id="10" creationId="{A3D4811A-8AA0-A36D-C479-B3A4CCE059E2}"/>
          </ac:spMkLst>
        </pc:spChg>
        <pc:graphicFrameChg chg="add mod modGraphic">
          <ac:chgData name="Stina Ru" userId="a298bcda0a73aae4" providerId="LiveId" clId="{657B596C-D876-42C4-BC50-B91736D71345}" dt="2023-02-06T20:28:04.774" v="9869" actId="1076"/>
          <ac:graphicFrameMkLst>
            <pc:docMk/>
            <pc:sldMk cId="4137465518" sldId="1231"/>
            <ac:graphicFrameMk id="6" creationId="{F9254368-6E7A-AACE-2FA0-7E93DCA06C5E}"/>
          </ac:graphicFrameMkLst>
        </pc:graphicFrameChg>
      </pc:sldChg>
      <pc:sldChg chg="modSp add mod">
        <pc:chgData name="Stina Ru" userId="a298bcda0a73aae4" providerId="LiveId" clId="{657B596C-D876-42C4-BC50-B91736D71345}" dt="2023-02-07T10:25:59.164" v="13534" actId="20577"/>
        <pc:sldMkLst>
          <pc:docMk/>
          <pc:sldMk cId="344158269" sldId="1252"/>
        </pc:sldMkLst>
        <pc:spChg chg="mod">
          <ac:chgData name="Stina Ru" userId="a298bcda0a73aae4" providerId="LiveId" clId="{657B596C-D876-42C4-BC50-B91736D71345}" dt="2023-02-05T21:30:16.622" v="14" actId="27636"/>
          <ac:spMkLst>
            <pc:docMk/>
            <pc:sldMk cId="344158269" sldId="1252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7T10:25:59.164" v="13534" actId="20577"/>
          <ac:spMkLst>
            <pc:docMk/>
            <pc:sldMk cId="344158269" sldId="1252"/>
            <ac:spMk id="3" creationId="{62E373E2-E479-4B85-B011-875D0EA60F4A}"/>
          </ac:spMkLst>
        </pc:spChg>
      </pc:sldChg>
      <pc:sldChg chg="modSp add mod">
        <pc:chgData name="Stina Ru" userId="a298bcda0a73aae4" providerId="LiveId" clId="{657B596C-D876-42C4-BC50-B91736D71345}" dt="2023-02-07T10:22:16.899" v="13451" actId="20577"/>
        <pc:sldMkLst>
          <pc:docMk/>
          <pc:sldMk cId="3965166237" sldId="1253"/>
        </pc:sldMkLst>
        <pc:spChg chg="mod">
          <ac:chgData name="Stina Ru" userId="a298bcda0a73aae4" providerId="LiveId" clId="{657B596C-D876-42C4-BC50-B91736D71345}" dt="2023-02-07T10:22:16.899" v="13451" actId="20577"/>
          <ac:spMkLst>
            <pc:docMk/>
            <pc:sldMk cId="3965166237" sldId="1253"/>
            <ac:spMk id="7" creationId="{CBA7BE43-7669-27F1-CD8E-42809D160EE3}"/>
          </ac:spMkLst>
        </pc:spChg>
        <pc:spChg chg="mod">
          <ac:chgData name="Stina Ru" userId="a298bcda0a73aae4" providerId="LiveId" clId="{657B596C-D876-42C4-BC50-B91736D71345}" dt="2023-02-05T21:30:45.484" v="20" actId="20577"/>
          <ac:spMkLst>
            <pc:docMk/>
            <pc:sldMk cId="3965166237" sldId="1253"/>
            <ac:spMk id="9" creationId="{9F52DE88-288A-9D9D-4DC5-E34AFEE7DF48}"/>
          </ac:spMkLst>
        </pc:spChg>
      </pc:sldChg>
      <pc:sldChg chg="modSp add mod">
        <pc:chgData name="Stina Ru" userId="a298bcda0a73aae4" providerId="LiveId" clId="{657B596C-D876-42C4-BC50-B91736D71345}" dt="2023-02-06T21:16:04.722" v="12108" actId="255"/>
        <pc:sldMkLst>
          <pc:docMk/>
          <pc:sldMk cId="3962258627" sldId="1255"/>
        </pc:sldMkLst>
        <pc:spChg chg="mod">
          <ac:chgData name="Stina Ru" userId="a298bcda0a73aae4" providerId="LiveId" clId="{657B596C-D876-42C4-BC50-B91736D71345}" dt="2023-02-06T21:16:04.722" v="12108" actId="255"/>
          <ac:spMkLst>
            <pc:docMk/>
            <pc:sldMk cId="3962258627" sldId="1255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5T21:48:08.739" v="521" actId="113"/>
          <ac:spMkLst>
            <pc:docMk/>
            <pc:sldMk cId="3962258627" sldId="1255"/>
            <ac:spMk id="3" creationId="{0EBE899E-D4B3-37EB-C706-EE2BF648C3A7}"/>
          </ac:spMkLst>
        </pc:spChg>
      </pc:sldChg>
      <pc:sldChg chg="modSp add mod">
        <pc:chgData name="Stina Ru" userId="a298bcda0a73aae4" providerId="LiveId" clId="{657B596C-D876-42C4-BC50-B91736D71345}" dt="2023-02-06T21:16:20.670" v="12114" actId="207"/>
        <pc:sldMkLst>
          <pc:docMk/>
          <pc:sldMk cId="2009201123" sldId="1256"/>
        </pc:sldMkLst>
        <pc:spChg chg="mod">
          <ac:chgData name="Stina Ru" userId="a298bcda0a73aae4" providerId="LiveId" clId="{657B596C-D876-42C4-BC50-B91736D71345}" dt="2023-02-06T21:16:17.772" v="12113" actId="1076"/>
          <ac:spMkLst>
            <pc:docMk/>
            <pc:sldMk cId="2009201123" sldId="1256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21:16:20.670" v="12114" actId="207"/>
          <ac:spMkLst>
            <pc:docMk/>
            <pc:sldMk cId="2009201123" sldId="1256"/>
            <ac:spMk id="3" creationId="{0EBE899E-D4B3-37EB-C706-EE2BF648C3A7}"/>
          </ac:spMkLst>
        </pc:spChg>
      </pc:sldChg>
      <pc:sldChg chg="modSp add mod">
        <pc:chgData name="Stina Ru" userId="a298bcda0a73aae4" providerId="LiveId" clId="{657B596C-D876-42C4-BC50-B91736D71345}" dt="2023-02-05T22:32:43.984" v="1589" actId="1076"/>
        <pc:sldMkLst>
          <pc:docMk/>
          <pc:sldMk cId="1149559469" sldId="1257"/>
        </pc:sldMkLst>
        <pc:spChg chg="mod">
          <ac:chgData name="Stina Ru" userId="a298bcda0a73aae4" providerId="LiveId" clId="{657B596C-D876-42C4-BC50-B91736D71345}" dt="2023-02-05T22:32:43.984" v="1589" actId="1076"/>
          <ac:spMkLst>
            <pc:docMk/>
            <pc:sldMk cId="1149559469" sldId="1257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5T22:32:34.679" v="1588" actId="6549"/>
          <ac:spMkLst>
            <pc:docMk/>
            <pc:sldMk cId="1149559469" sldId="1257"/>
            <ac:spMk id="3" creationId="{0EBE899E-D4B3-37EB-C706-EE2BF648C3A7}"/>
          </ac:spMkLst>
        </pc:spChg>
      </pc:sldChg>
      <pc:sldChg chg="addSp delSp modSp add mod modAnim">
        <pc:chgData name="Stina Ru" userId="a298bcda0a73aae4" providerId="LiveId" clId="{657B596C-D876-42C4-BC50-B91736D71345}" dt="2023-02-06T21:39:46.636" v="12395" actId="14100"/>
        <pc:sldMkLst>
          <pc:docMk/>
          <pc:sldMk cId="2181728893" sldId="1258"/>
        </pc:sldMkLst>
        <pc:spChg chg="mod">
          <ac:chgData name="Stina Ru" userId="a298bcda0a73aae4" providerId="LiveId" clId="{657B596C-D876-42C4-BC50-B91736D71345}" dt="2023-02-05T22:31:26.369" v="1547" actId="20577"/>
          <ac:spMkLst>
            <pc:docMk/>
            <pc:sldMk cId="2181728893" sldId="1258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21:32:03.360" v="12336" actId="113"/>
          <ac:spMkLst>
            <pc:docMk/>
            <pc:sldMk cId="2181728893" sldId="1258"/>
            <ac:spMk id="3" creationId="{62E373E2-E479-4B85-B011-875D0EA60F4A}"/>
          </ac:spMkLst>
        </pc:spChg>
        <pc:spChg chg="add mod">
          <ac:chgData name="Stina Ru" userId="a298bcda0a73aae4" providerId="LiveId" clId="{657B596C-D876-42C4-BC50-B91736D71345}" dt="2023-02-06T21:32:07.314" v="12337" actId="313"/>
          <ac:spMkLst>
            <pc:docMk/>
            <pc:sldMk cId="2181728893" sldId="1258"/>
            <ac:spMk id="6" creationId="{1836E2EC-A522-F70F-7F4F-D6E39008FB29}"/>
          </ac:spMkLst>
        </pc:spChg>
        <pc:picChg chg="del">
          <ac:chgData name="Stina Ru" userId="a298bcda0a73aae4" providerId="LiveId" clId="{657B596C-D876-42C4-BC50-B91736D71345}" dt="2023-02-05T22:27:16.421" v="1262" actId="478"/>
          <ac:picMkLst>
            <pc:docMk/>
            <pc:sldMk cId="2181728893" sldId="1258"/>
            <ac:picMk id="7" creationId="{4B9166DC-F645-4E5E-B976-7477B34BAC0D}"/>
          </ac:picMkLst>
        </pc:picChg>
        <pc:picChg chg="add mod ord">
          <ac:chgData name="Stina Ru" userId="a298bcda0a73aae4" providerId="LiveId" clId="{657B596C-D876-42C4-BC50-B91736D71345}" dt="2023-02-06T21:39:46.636" v="12395" actId="14100"/>
          <ac:picMkLst>
            <pc:docMk/>
            <pc:sldMk cId="2181728893" sldId="1258"/>
            <ac:picMk id="8" creationId="{9616286F-0498-859E-E498-6A187F2DB9CC}"/>
          </ac:picMkLst>
        </pc:picChg>
      </pc:sldChg>
      <pc:sldChg chg="modSp add mod">
        <pc:chgData name="Stina Ru" userId="a298bcda0a73aae4" providerId="LiveId" clId="{657B596C-D876-42C4-BC50-B91736D71345}" dt="2023-02-06T21:40:10.966" v="12397" actId="207"/>
        <pc:sldMkLst>
          <pc:docMk/>
          <pc:sldMk cId="1856555240" sldId="1259"/>
        </pc:sldMkLst>
        <pc:spChg chg="mod">
          <ac:chgData name="Stina Ru" userId="a298bcda0a73aae4" providerId="LiveId" clId="{657B596C-D876-42C4-BC50-B91736D71345}" dt="2023-02-06T21:40:10.966" v="12397" actId="207"/>
          <ac:spMkLst>
            <pc:docMk/>
            <pc:sldMk cId="1856555240" sldId="1259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5T22:33:23.882" v="1611" actId="113"/>
          <ac:spMkLst>
            <pc:docMk/>
            <pc:sldMk cId="1856555240" sldId="1259"/>
            <ac:spMk id="3" creationId="{0EBE899E-D4B3-37EB-C706-EE2BF648C3A7}"/>
          </ac:spMkLst>
        </pc:spChg>
      </pc:sldChg>
      <pc:sldChg chg="addSp delSp modSp add mod delAnim modAnim">
        <pc:chgData name="Stina Ru" userId="a298bcda0a73aae4" providerId="LiveId" clId="{657B596C-D876-42C4-BC50-B91736D71345}" dt="2023-02-06T21:45:50.979" v="12408"/>
        <pc:sldMkLst>
          <pc:docMk/>
          <pc:sldMk cId="1697683070" sldId="1260"/>
        </pc:sldMkLst>
        <pc:spChg chg="mod">
          <ac:chgData name="Stina Ru" userId="a298bcda0a73aae4" providerId="LiveId" clId="{657B596C-D876-42C4-BC50-B91736D71345}" dt="2023-02-06T21:40:04.920" v="12396" actId="1076"/>
          <ac:spMkLst>
            <pc:docMk/>
            <pc:sldMk cId="1697683070" sldId="1260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5T22:49:41.157" v="2400"/>
          <ac:spMkLst>
            <pc:docMk/>
            <pc:sldMk cId="1697683070" sldId="1260"/>
            <ac:spMk id="3" creationId="{62E373E2-E479-4B85-B011-875D0EA60F4A}"/>
          </ac:spMkLst>
        </pc:spChg>
        <pc:spChg chg="del">
          <ac:chgData name="Stina Ru" userId="a298bcda0a73aae4" providerId="LiveId" clId="{657B596C-D876-42C4-BC50-B91736D71345}" dt="2023-02-05T22:37:33.066" v="1644" actId="478"/>
          <ac:spMkLst>
            <pc:docMk/>
            <pc:sldMk cId="1697683070" sldId="1260"/>
            <ac:spMk id="6" creationId="{1836E2EC-A522-F70F-7F4F-D6E39008FB29}"/>
          </ac:spMkLst>
        </pc:spChg>
        <pc:spChg chg="add mod">
          <ac:chgData name="Stina Ru" userId="a298bcda0a73aae4" providerId="LiveId" clId="{657B596C-D876-42C4-BC50-B91736D71345}" dt="2023-02-06T21:41:38.298" v="12404" actId="113"/>
          <ac:spMkLst>
            <pc:docMk/>
            <pc:sldMk cId="1697683070" sldId="1260"/>
            <ac:spMk id="7" creationId="{88D372CE-B16B-8873-8BD2-B609FA7F8A1B}"/>
          </ac:spMkLst>
        </pc:spChg>
        <pc:spChg chg="add mod">
          <ac:chgData name="Stina Ru" userId="a298bcda0a73aae4" providerId="LiveId" clId="{657B596C-D876-42C4-BC50-B91736D71345}" dt="2023-02-06T21:41:42.750" v="12405" actId="113"/>
          <ac:spMkLst>
            <pc:docMk/>
            <pc:sldMk cId="1697683070" sldId="1260"/>
            <ac:spMk id="9" creationId="{06869255-1FD9-2A6E-BDF5-1980D19AD6F0}"/>
          </ac:spMkLst>
        </pc:spChg>
        <pc:spChg chg="add mod">
          <ac:chgData name="Stina Ru" userId="a298bcda0a73aae4" providerId="LiveId" clId="{657B596C-D876-42C4-BC50-B91736D71345}" dt="2023-02-06T21:41:26.110" v="12403" actId="255"/>
          <ac:spMkLst>
            <pc:docMk/>
            <pc:sldMk cId="1697683070" sldId="1260"/>
            <ac:spMk id="14" creationId="{1D27EBEE-0242-1920-D6BF-F3F9AEF2285D}"/>
          </ac:spMkLst>
        </pc:spChg>
        <pc:picChg chg="del">
          <ac:chgData name="Stina Ru" userId="a298bcda0a73aae4" providerId="LiveId" clId="{657B596C-D876-42C4-BC50-B91736D71345}" dt="2023-02-05T22:37:29.683" v="1643" actId="478"/>
          <ac:picMkLst>
            <pc:docMk/>
            <pc:sldMk cId="1697683070" sldId="1260"/>
            <ac:picMk id="8" creationId="{9616286F-0498-859E-E498-6A187F2DB9CC}"/>
          </ac:picMkLst>
        </pc:picChg>
        <pc:picChg chg="add mod">
          <ac:chgData name="Stina Ru" userId="a298bcda0a73aae4" providerId="LiveId" clId="{657B596C-D876-42C4-BC50-B91736D71345}" dt="2023-02-05T22:50:34.123" v="2414" actId="1076"/>
          <ac:picMkLst>
            <pc:docMk/>
            <pc:sldMk cId="1697683070" sldId="1260"/>
            <ac:picMk id="10" creationId="{D3DDF893-623C-165A-58D4-5E061B465E50}"/>
          </ac:picMkLst>
        </pc:picChg>
        <pc:picChg chg="add mod">
          <ac:chgData name="Stina Ru" userId="a298bcda0a73aae4" providerId="LiveId" clId="{657B596C-D876-42C4-BC50-B91736D71345}" dt="2023-02-05T22:50:38.282" v="2415" actId="1076"/>
          <ac:picMkLst>
            <pc:docMk/>
            <pc:sldMk cId="1697683070" sldId="1260"/>
            <ac:picMk id="11" creationId="{78FBEE47-8AB4-1F71-B461-FEB3FA5A3DB3}"/>
          </ac:picMkLst>
        </pc:picChg>
        <pc:picChg chg="add del mod">
          <ac:chgData name="Stina Ru" userId="a298bcda0a73aae4" providerId="LiveId" clId="{657B596C-D876-42C4-BC50-B91736D71345}" dt="2023-02-05T22:49:19.922" v="2394" actId="478"/>
          <ac:picMkLst>
            <pc:docMk/>
            <pc:sldMk cId="1697683070" sldId="1260"/>
            <ac:picMk id="12" creationId="{680522C3-3E81-7207-E232-1464C521C68F}"/>
          </ac:picMkLst>
        </pc:picChg>
        <pc:picChg chg="add del mod">
          <ac:chgData name="Stina Ru" userId="a298bcda0a73aae4" providerId="LiveId" clId="{657B596C-D876-42C4-BC50-B91736D71345}" dt="2023-02-05T22:49:19.163" v="2393" actId="478"/>
          <ac:picMkLst>
            <pc:docMk/>
            <pc:sldMk cId="1697683070" sldId="1260"/>
            <ac:picMk id="13" creationId="{91A17F13-84ED-08BB-E837-C9F4E5084D87}"/>
          </ac:picMkLst>
        </pc:picChg>
        <pc:picChg chg="add mod">
          <ac:chgData name="Stina Ru" userId="a298bcda0a73aae4" providerId="LiveId" clId="{657B596C-D876-42C4-BC50-B91736D71345}" dt="2023-02-05T22:50:12.149" v="2408" actId="1076"/>
          <ac:picMkLst>
            <pc:docMk/>
            <pc:sldMk cId="1697683070" sldId="1260"/>
            <ac:picMk id="15" creationId="{81D881D3-10B6-2BDE-486B-BBB6E69C229E}"/>
          </ac:picMkLst>
        </pc:picChg>
        <pc:picChg chg="add mod">
          <ac:chgData name="Stina Ru" userId="a298bcda0a73aae4" providerId="LiveId" clId="{657B596C-D876-42C4-BC50-B91736D71345}" dt="2023-02-05T22:50:19.497" v="2409" actId="1076"/>
          <ac:picMkLst>
            <pc:docMk/>
            <pc:sldMk cId="1697683070" sldId="1260"/>
            <ac:picMk id="16" creationId="{08BE6D47-1DDA-4BF1-432A-74CDA8AABB80}"/>
          </ac:picMkLst>
        </pc:picChg>
      </pc:sldChg>
      <pc:sldChg chg="modSp add mod">
        <pc:chgData name="Stina Ru" userId="a298bcda0a73aae4" providerId="LiveId" clId="{657B596C-D876-42C4-BC50-B91736D71345}" dt="2023-02-06T21:41:51.532" v="12406" actId="207"/>
        <pc:sldMkLst>
          <pc:docMk/>
          <pc:sldMk cId="976590161" sldId="1261"/>
        </pc:sldMkLst>
        <pc:spChg chg="mod">
          <ac:chgData name="Stina Ru" userId="a298bcda0a73aae4" providerId="LiveId" clId="{657B596C-D876-42C4-BC50-B91736D71345}" dt="2023-02-06T21:41:51.532" v="12406" actId="207"/>
          <ac:spMkLst>
            <pc:docMk/>
            <pc:sldMk cId="976590161" sldId="1261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5T22:51:42.674" v="2436" actId="113"/>
          <ac:spMkLst>
            <pc:docMk/>
            <pc:sldMk cId="976590161" sldId="1261"/>
            <ac:spMk id="3" creationId="{0EBE899E-D4B3-37EB-C706-EE2BF648C3A7}"/>
          </ac:spMkLst>
        </pc:spChg>
      </pc:sldChg>
      <pc:sldChg chg="addSp delSp modSp add mod delAnim modAnim">
        <pc:chgData name="Stina Ru" userId="a298bcda0a73aae4" providerId="LiveId" clId="{657B596C-D876-42C4-BC50-B91736D71345}" dt="2023-02-06T21:50:59.735" v="12487"/>
        <pc:sldMkLst>
          <pc:docMk/>
          <pc:sldMk cId="4127828872" sldId="1262"/>
        </pc:sldMkLst>
        <pc:spChg chg="mod">
          <ac:chgData name="Stina Ru" userId="a298bcda0a73aae4" providerId="LiveId" clId="{657B596C-D876-42C4-BC50-B91736D71345}" dt="2023-02-05T22:53:37.238" v="2442" actId="20577"/>
          <ac:spMkLst>
            <pc:docMk/>
            <pc:sldMk cId="4127828872" sldId="1262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5T23:01:05.570" v="2851" actId="20577"/>
          <ac:spMkLst>
            <pc:docMk/>
            <pc:sldMk cId="4127828872" sldId="1262"/>
            <ac:spMk id="3" creationId="{62E373E2-E479-4B85-B011-875D0EA60F4A}"/>
          </ac:spMkLst>
        </pc:spChg>
        <pc:spChg chg="add mod">
          <ac:chgData name="Stina Ru" userId="a298bcda0a73aae4" providerId="LiveId" clId="{657B596C-D876-42C4-BC50-B91736D71345}" dt="2023-02-06T21:47:53.957" v="12423" actId="1076"/>
          <ac:spMkLst>
            <pc:docMk/>
            <pc:sldMk cId="4127828872" sldId="1262"/>
            <ac:spMk id="7" creationId="{0659F7F3-C1E7-F758-55BB-6FAA809D90AD}"/>
          </ac:spMkLst>
        </pc:spChg>
        <pc:spChg chg="del">
          <ac:chgData name="Stina Ru" userId="a298bcda0a73aae4" providerId="LiveId" clId="{657B596C-D876-42C4-BC50-B91736D71345}" dt="2023-02-05T22:54:58.133" v="2506" actId="478"/>
          <ac:spMkLst>
            <pc:docMk/>
            <pc:sldMk cId="4127828872" sldId="1262"/>
            <ac:spMk id="7" creationId="{88D372CE-B16B-8873-8BD2-B609FA7F8A1B}"/>
          </ac:spMkLst>
        </pc:spChg>
        <pc:spChg chg="add mod">
          <ac:chgData name="Stina Ru" userId="a298bcda0a73aae4" providerId="LiveId" clId="{657B596C-D876-42C4-BC50-B91736D71345}" dt="2023-02-06T21:48:12.325" v="12430" actId="1076"/>
          <ac:spMkLst>
            <pc:docMk/>
            <pc:sldMk cId="4127828872" sldId="1262"/>
            <ac:spMk id="8" creationId="{2323D0CB-899B-FB6D-353E-551EF224BA9F}"/>
          </ac:spMkLst>
        </pc:spChg>
        <pc:spChg chg="del">
          <ac:chgData name="Stina Ru" userId="a298bcda0a73aae4" providerId="LiveId" clId="{657B596C-D876-42C4-BC50-B91736D71345}" dt="2023-02-05T22:54:59.395" v="2507" actId="478"/>
          <ac:spMkLst>
            <pc:docMk/>
            <pc:sldMk cId="4127828872" sldId="1262"/>
            <ac:spMk id="9" creationId="{06869255-1FD9-2A6E-BDF5-1980D19AD6F0}"/>
          </ac:spMkLst>
        </pc:spChg>
        <pc:spChg chg="add mod">
          <ac:chgData name="Stina Ru" userId="a298bcda0a73aae4" providerId="LiveId" clId="{657B596C-D876-42C4-BC50-B91736D71345}" dt="2023-02-06T21:48:28.220" v="12437" actId="1076"/>
          <ac:spMkLst>
            <pc:docMk/>
            <pc:sldMk cId="4127828872" sldId="1262"/>
            <ac:spMk id="9" creationId="{57AE771E-EC7F-242B-C1A5-E6B51B421348}"/>
          </ac:spMkLst>
        </pc:spChg>
        <pc:spChg chg="add mod">
          <ac:chgData name="Stina Ru" userId="a298bcda0a73aae4" providerId="LiveId" clId="{657B596C-D876-42C4-BC50-B91736D71345}" dt="2023-02-06T21:50:21.870" v="12478" actId="1076"/>
          <ac:spMkLst>
            <pc:docMk/>
            <pc:sldMk cId="4127828872" sldId="1262"/>
            <ac:spMk id="10" creationId="{18D92FD1-9770-9C6E-20BB-820356EB839B}"/>
          </ac:spMkLst>
        </pc:spChg>
        <pc:spChg chg="add mod">
          <ac:chgData name="Stina Ru" userId="a298bcda0a73aae4" providerId="LiveId" clId="{657B596C-D876-42C4-BC50-B91736D71345}" dt="2023-02-06T21:50:01.365" v="12460" actId="1076"/>
          <ac:spMkLst>
            <pc:docMk/>
            <pc:sldMk cId="4127828872" sldId="1262"/>
            <ac:spMk id="11" creationId="{F6760351-40D6-B97C-7952-7EDDC9F3C1EE}"/>
          </ac:spMkLst>
        </pc:spChg>
        <pc:spChg chg="add mod">
          <ac:chgData name="Stina Ru" userId="a298bcda0a73aae4" providerId="LiveId" clId="{657B596C-D876-42C4-BC50-B91736D71345}" dt="2023-02-06T21:50:16.575" v="12477" actId="1076"/>
          <ac:spMkLst>
            <pc:docMk/>
            <pc:sldMk cId="4127828872" sldId="1262"/>
            <ac:spMk id="12" creationId="{34EE2B6B-FA9D-6A26-2106-11113EEAE91F}"/>
          </ac:spMkLst>
        </pc:spChg>
        <pc:spChg chg="del">
          <ac:chgData name="Stina Ru" userId="a298bcda0a73aae4" providerId="LiveId" clId="{657B596C-D876-42C4-BC50-B91736D71345}" dt="2023-02-05T22:55:00.705" v="2508" actId="478"/>
          <ac:spMkLst>
            <pc:docMk/>
            <pc:sldMk cId="4127828872" sldId="1262"/>
            <ac:spMk id="14" creationId="{1D27EBEE-0242-1920-D6BF-F3F9AEF2285D}"/>
          </ac:spMkLst>
        </pc:spChg>
        <pc:graphicFrameChg chg="add mod modGraphic">
          <ac:chgData name="Stina Ru" userId="a298bcda0a73aae4" providerId="LiveId" clId="{657B596C-D876-42C4-BC50-B91736D71345}" dt="2023-02-06T21:50:06.387" v="12461" actId="21"/>
          <ac:graphicFrameMkLst>
            <pc:docMk/>
            <pc:sldMk cId="4127828872" sldId="1262"/>
            <ac:graphicFrameMk id="6" creationId="{0562B959-9FE4-F986-CB5D-19263BE57C96}"/>
          </ac:graphicFrameMkLst>
        </pc:graphicFrameChg>
        <pc:picChg chg="del">
          <ac:chgData name="Stina Ru" userId="a298bcda0a73aae4" providerId="LiveId" clId="{657B596C-D876-42C4-BC50-B91736D71345}" dt="2023-02-05T22:55:02.193" v="2510" actId="478"/>
          <ac:picMkLst>
            <pc:docMk/>
            <pc:sldMk cId="4127828872" sldId="1262"/>
            <ac:picMk id="10" creationId="{D3DDF893-623C-165A-58D4-5E061B465E50}"/>
          </ac:picMkLst>
        </pc:picChg>
        <pc:picChg chg="del">
          <ac:chgData name="Stina Ru" userId="a298bcda0a73aae4" providerId="LiveId" clId="{657B596C-D876-42C4-BC50-B91736D71345}" dt="2023-02-05T22:55:01.322" v="2509" actId="478"/>
          <ac:picMkLst>
            <pc:docMk/>
            <pc:sldMk cId="4127828872" sldId="1262"/>
            <ac:picMk id="11" creationId="{78FBEE47-8AB4-1F71-B461-FEB3FA5A3DB3}"/>
          </ac:picMkLst>
        </pc:picChg>
        <pc:picChg chg="del">
          <ac:chgData name="Stina Ru" userId="a298bcda0a73aae4" providerId="LiveId" clId="{657B596C-D876-42C4-BC50-B91736D71345}" dt="2023-02-05T22:55:03.743" v="2512" actId="478"/>
          <ac:picMkLst>
            <pc:docMk/>
            <pc:sldMk cId="4127828872" sldId="1262"/>
            <ac:picMk id="15" creationId="{81D881D3-10B6-2BDE-486B-BBB6E69C229E}"/>
          </ac:picMkLst>
        </pc:picChg>
        <pc:picChg chg="del">
          <ac:chgData name="Stina Ru" userId="a298bcda0a73aae4" providerId="LiveId" clId="{657B596C-D876-42C4-BC50-B91736D71345}" dt="2023-02-05T22:55:02.856" v="2511" actId="478"/>
          <ac:picMkLst>
            <pc:docMk/>
            <pc:sldMk cId="4127828872" sldId="1262"/>
            <ac:picMk id="16" creationId="{08BE6D47-1DDA-4BF1-432A-74CDA8AABB80}"/>
          </ac:picMkLst>
        </pc:picChg>
      </pc:sldChg>
      <pc:sldChg chg="modSp add mod">
        <pc:chgData name="Stina Ru" userId="a298bcda0a73aae4" providerId="LiveId" clId="{657B596C-D876-42C4-BC50-B91736D71345}" dt="2023-02-06T21:16:47.507" v="12117" actId="1076"/>
        <pc:sldMkLst>
          <pc:docMk/>
          <pc:sldMk cId="3675458009" sldId="1263"/>
        </pc:sldMkLst>
        <pc:spChg chg="mod">
          <ac:chgData name="Stina Ru" userId="a298bcda0a73aae4" providerId="LiveId" clId="{657B596C-D876-42C4-BC50-B91736D71345}" dt="2023-02-06T21:16:45.009" v="12116" actId="255"/>
          <ac:spMkLst>
            <pc:docMk/>
            <pc:sldMk cId="3675458009" sldId="1263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21:16:47.507" v="12117" actId="1076"/>
          <ac:spMkLst>
            <pc:docMk/>
            <pc:sldMk cId="3675458009" sldId="1263"/>
            <ac:spMk id="3" creationId="{0EBE899E-D4B3-37EB-C706-EE2BF648C3A7}"/>
          </ac:spMkLst>
        </pc:spChg>
      </pc:sldChg>
      <pc:sldChg chg="modSp add mod">
        <pc:chgData name="Stina Ru" userId="a298bcda0a73aae4" providerId="LiveId" clId="{657B596C-D876-42C4-BC50-B91736D71345}" dt="2023-02-06T21:16:54.799" v="12118" actId="255"/>
        <pc:sldMkLst>
          <pc:docMk/>
          <pc:sldMk cId="2294016261" sldId="1264"/>
        </pc:sldMkLst>
        <pc:spChg chg="mod">
          <ac:chgData name="Stina Ru" userId="a298bcda0a73aae4" providerId="LiveId" clId="{657B596C-D876-42C4-BC50-B91736D71345}" dt="2023-02-06T21:16:54.799" v="12118" actId="255"/>
          <ac:spMkLst>
            <pc:docMk/>
            <pc:sldMk cId="2294016261" sldId="1264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5T23:28:26.730" v="3654" actId="113"/>
          <ac:spMkLst>
            <pc:docMk/>
            <pc:sldMk cId="2294016261" sldId="1264"/>
            <ac:spMk id="3" creationId="{0EBE899E-D4B3-37EB-C706-EE2BF648C3A7}"/>
          </ac:spMkLst>
        </pc:spChg>
      </pc:sldChg>
      <pc:sldChg chg="delSp modSp add del mod">
        <pc:chgData name="Stina Ru" userId="a298bcda0a73aae4" providerId="LiveId" clId="{657B596C-D876-42C4-BC50-B91736D71345}" dt="2023-02-05T23:31:02.622" v="3692" actId="47"/>
        <pc:sldMkLst>
          <pc:docMk/>
          <pc:sldMk cId="770978576" sldId="1265"/>
        </pc:sldMkLst>
        <pc:spChg chg="mod">
          <ac:chgData name="Stina Ru" userId="a298bcda0a73aae4" providerId="LiveId" clId="{657B596C-D876-42C4-BC50-B91736D71345}" dt="2023-02-05T23:29:29.687" v="3686" actId="6549"/>
          <ac:spMkLst>
            <pc:docMk/>
            <pc:sldMk cId="770978576" sldId="1265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5T23:29:46.104" v="3690" actId="1076"/>
          <ac:spMkLst>
            <pc:docMk/>
            <pc:sldMk cId="770978576" sldId="1265"/>
            <ac:spMk id="3" creationId="{62E373E2-E479-4B85-B011-875D0EA60F4A}"/>
          </ac:spMkLst>
        </pc:spChg>
        <pc:picChg chg="del mod">
          <ac:chgData name="Stina Ru" userId="a298bcda0a73aae4" providerId="LiveId" clId="{657B596C-D876-42C4-BC50-B91736D71345}" dt="2023-02-05T23:29:35.818" v="3689" actId="478"/>
          <ac:picMkLst>
            <pc:docMk/>
            <pc:sldMk cId="770978576" sldId="1265"/>
            <ac:picMk id="7" creationId="{4B9166DC-F645-4E5E-B976-7477B34BAC0D}"/>
          </ac:picMkLst>
        </pc:picChg>
      </pc:sldChg>
      <pc:sldChg chg="addSp delSp modSp add mod delAnim modAnim">
        <pc:chgData name="Stina Ru" userId="a298bcda0a73aae4" providerId="LiveId" clId="{657B596C-D876-42C4-BC50-B91736D71345}" dt="2023-02-06T21:52:20.713" v="12536" actId="20577"/>
        <pc:sldMkLst>
          <pc:docMk/>
          <pc:sldMk cId="844750715" sldId="1266"/>
        </pc:sldMkLst>
        <pc:spChg chg="del">
          <ac:chgData name="Stina Ru" userId="a298bcda0a73aae4" providerId="LiveId" clId="{657B596C-D876-42C4-BC50-B91736D71345}" dt="2023-02-05T23:33:29.321" v="3730" actId="478"/>
          <ac:spMkLst>
            <pc:docMk/>
            <pc:sldMk cId="844750715" sldId="1266"/>
            <ac:spMk id="2" creationId="{1C1F24AB-6A10-2A0C-E21F-420B31C1D1A7}"/>
          </ac:spMkLst>
        </pc:spChg>
        <pc:spChg chg="add del">
          <ac:chgData name="Stina Ru" userId="a298bcda0a73aae4" providerId="LiveId" clId="{657B596C-D876-42C4-BC50-B91736D71345}" dt="2023-02-05T23:39:24.392" v="3957" actId="22"/>
          <ac:spMkLst>
            <pc:docMk/>
            <pc:sldMk cId="844750715" sldId="1266"/>
            <ac:spMk id="5" creationId="{82E2A1D0-40FB-F979-36CD-CF9829C998B0}"/>
          </ac:spMkLst>
        </pc:spChg>
        <pc:spChg chg="mod">
          <ac:chgData name="Stina Ru" userId="a298bcda0a73aae4" providerId="LiveId" clId="{657B596C-D876-42C4-BC50-B91736D71345}" dt="2023-02-06T21:52:20.713" v="12536" actId="20577"/>
          <ac:spMkLst>
            <pc:docMk/>
            <pc:sldMk cId="844750715" sldId="1266"/>
            <ac:spMk id="6" creationId="{070F7C74-9112-406B-A0CC-08F6DDA1D2AF}"/>
          </ac:spMkLst>
        </pc:spChg>
        <pc:spChg chg="del">
          <ac:chgData name="Stina Ru" userId="a298bcda0a73aae4" providerId="LiveId" clId="{657B596C-D876-42C4-BC50-B91736D71345}" dt="2023-02-05T23:34:13.510" v="3735" actId="478"/>
          <ac:spMkLst>
            <pc:docMk/>
            <pc:sldMk cId="844750715" sldId="1266"/>
            <ac:spMk id="7" creationId="{742383C0-6A0B-2D1D-6231-F6A5EB7A3695}"/>
          </ac:spMkLst>
        </pc:spChg>
        <pc:spChg chg="del mod">
          <ac:chgData name="Stina Ru" userId="a298bcda0a73aae4" providerId="LiveId" clId="{657B596C-D876-42C4-BC50-B91736D71345}" dt="2023-02-05T23:36:34.194" v="3926" actId="478"/>
          <ac:spMkLst>
            <pc:docMk/>
            <pc:sldMk cId="844750715" sldId="1266"/>
            <ac:spMk id="8" creationId="{46671CA2-8450-A50B-9895-FFDB4D3B386D}"/>
          </ac:spMkLst>
        </pc:spChg>
        <pc:spChg chg="del mod">
          <ac:chgData name="Stina Ru" userId="a298bcda0a73aae4" providerId="LiveId" clId="{657B596C-D876-42C4-BC50-B91736D71345}" dt="2023-02-05T23:36:36.306" v="3927" actId="478"/>
          <ac:spMkLst>
            <pc:docMk/>
            <pc:sldMk cId="844750715" sldId="1266"/>
            <ac:spMk id="14" creationId="{F0284E5C-A6E0-1C74-C3F6-EF6FB57307FA}"/>
          </ac:spMkLst>
        </pc:spChg>
      </pc:sldChg>
      <pc:sldChg chg="modSp add mod">
        <pc:chgData name="Stina Ru" userId="a298bcda0a73aae4" providerId="LiveId" clId="{657B596C-D876-42C4-BC50-B91736D71345}" dt="2023-02-06T21:17:06.308" v="12120" actId="207"/>
        <pc:sldMkLst>
          <pc:docMk/>
          <pc:sldMk cId="1131779584" sldId="1267"/>
        </pc:sldMkLst>
        <pc:spChg chg="mod">
          <ac:chgData name="Stina Ru" userId="a298bcda0a73aae4" providerId="LiveId" clId="{657B596C-D876-42C4-BC50-B91736D71345}" dt="2023-02-06T21:17:03.145" v="12119" actId="255"/>
          <ac:spMkLst>
            <pc:docMk/>
            <pc:sldMk cId="1131779584" sldId="1267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21:17:06.308" v="12120" actId="207"/>
          <ac:spMkLst>
            <pc:docMk/>
            <pc:sldMk cId="1131779584" sldId="1267"/>
            <ac:spMk id="3" creationId="{0EBE899E-D4B3-37EB-C706-EE2BF648C3A7}"/>
          </ac:spMkLst>
        </pc:spChg>
      </pc:sldChg>
      <pc:sldChg chg="addSp delSp modSp add mod modClrScheme delAnim modAnim chgLayout">
        <pc:chgData name="Stina Ru" userId="a298bcda0a73aae4" providerId="LiveId" clId="{657B596C-D876-42C4-BC50-B91736D71345}" dt="2023-02-06T17:58:44.268" v="5789" actId="207"/>
        <pc:sldMkLst>
          <pc:docMk/>
          <pc:sldMk cId="3043871342" sldId="1268"/>
        </pc:sldMkLst>
        <pc:spChg chg="add mod">
          <ac:chgData name="Stina Ru" userId="a298bcda0a73aae4" providerId="LiveId" clId="{657B596C-D876-42C4-BC50-B91736D71345}" dt="2023-02-06T17:58:44.268" v="5789" actId="207"/>
          <ac:spMkLst>
            <pc:docMk/>
            <pc:sldMk cId="3043871342" sldId="1268"/>
            <ac:spMk id="3" creationId="{BE3E4719-F89E-AF3C-DF7C-A15ED7A74D03}"/>
          </ac:spMkLst>
        </pc:spChg>
        <pc:spChg chg="mod ord">
          <ac:chgData name="Stina Ru" userId="a298bcda0a73aae4" providerId="LiveId" clId="{657B596C-D876-42C4-BC50-B91736D71345}" dt="2023-02-05T23:43:02.772" v="4051" actId="26606"/>
          <ac:spMkLst>
            <pc:docMk/>
            <pc:sldMk cId="3043871342" sldId="1268"/>
            <ac:spMk id="4" creationId="{56F69610-9E3A-4D99-BF17-16DDE17C18CD}"/>
          </ac:spMkLst>
        </pc:spChg>
        <pc:spChg chg="mod">
          <ac:chgData name="Stina Ru" userId="a298bcda0a73aae4" providerId="LiveId" clId="{657B596C-D876-42C4-BC50-B91736D71345}" dt="2023-02-06T17:58:14.846" v="5786" actId="13926"/>
          <ac:spMkLst>
            <pc:docMk/>
            <pc:sldMk cId="3043871342" sldId="1268"/>
            <ac:spMk id="6" creationId="{070F7C74-9112-406B-A0CC-08F6DDA1D2AF}"/>
          </ac:spMkLst>
        </pc:spChg>
        <pc:spChg chg="mod">
          <ac:chgData name="Stina Ru" userId="a298bcda0a73aae4" providerId="LiveId" clId="{657B596C-D876-42C4-BC50-B91736D71345}" dt="2023-02-05T23:43:02.772" v="4051" actId="26606"/>
          <ac:spMkLst>
            <pc:docMk/>
            <pc:sldMk cId="3043871342" sldId="1268"/>
            <ac:spMk id="12" creationId="{13B203F9-1E27-4E57-902E-B40C20ADA7DF}"/>
          </ac:spMkLst>
        </pc:spChg>
        <pc:spChg chg="mod">
          <ac:chgData name="Stina Ru" userId="a298bcda0a73aae4" providerId="LiveId" clId="{657B596C-D876-42C4-BC50-B91736D71345}" dt="2023-02-05T23:43:02.772" v="4051" actId="26606"/>
          <ac:spMkLst>
            <pc:docMk/>
            <pc:sldMk cId="3043871342" sldId="1268"/>
            <ac:spMk id="13" creationId="{D9F45625-7754-4CE7-B147-A8EA001889A8}"/>
          </ac:spMkLst>
        </pc:spChg>
        <pc:spChg chg="add del mod">
          <ac:chgData name="Stina Ru" userId="a298bcda0a73aae4" providerId="LiveId" clId="{657B596C-D876-42C4-BC50-B91736D71345}" dt="2023-02-05T23:43:06.128" v="4052" actId="478"/>
          <ac:spMkLst>
            <pc:docMk/>
            <pc:sldMk cId="3043871342" sldId="1268"/>
            <ac:spMk id="18" creationId="{A12C9EBB-F4BE-37DB-F485-6451E5F4071E}"/>
          </ac:spMkLst>
        </pc:spChg>
        <pc:picChg chg="add del mod">
          <ac:chgData name="Stina Ru" userId="a298bcda0a73aae4" providerId="LiveId" clId="{657B596C-D876-42C4-BC50-B91736D71345}" dt="2023-02-05T23:42:56.334" v="4049" actId="478"/>
          <ac:picMkLst>
            <pc:docMk/>
            <pc:sldMk cId="3043871342" sldId="1268"/>
            <ac:picMk id="2" creationId="{293E6C27-6DBE-4E7B-CAA2-D3985589DC2A}"/>
          </ac:picMkLst>
        </pc:picChg>
        <pc:picChg chg="add mod">
          <ac:chgData name="Stina Ru" userId="a298bcda0a73aae4" providerId="LiveId" clId="{657B596C-D876-42C4-BC50-B91736D71345}" dt="2023-02-05T23:44:30.184" v="4093" actId="1076"/>
          <ac:picMkLst>
            <pc:docMk/>
            <pc:sldMk cId="3043871342" sldId="1268"/>
            <ac:picMk id="5" creationId="{2F242DC2-5396-122A-048F-A0BC698301DB}"/>
          </ac:picMkLst>
        </pc:picChg>
      </pc:sldChg>
      <pc:sldChg chg="addSp delSp modSp add del mod delAnim modAnim">
        <pc:chgData name="Stina Ru" userId="a298bcda0a73aae4" providerId="LiveId" clId="{657B596C-D876-42C4-BC50-B91736D71345}" dt="2023-02-06T17:54:01.169" v="5716" actId="47"/>
        <pc:sldMkLst>
          <pc:docMk/>
          <pc:sldMk cId="2390154632" sldId="1269"/>
        </pc:sldMkLst>
        <pc:spChg chg="add mod">
          <ac:chgData name="Stina Ru" userId="a298bcda0a73aae4" providerId="LiveId" clId="{657B596C-D876-42C4-BC50-B91736D71345}" dt="2023-02-05T23:50:54.916" v="4630" actId="255"/>
          <ac:spMkLst>
            <pc:docMk/>
            <pc:sldMk cId="2390154632" sldId="1269"/>
            <ac:spMk id="2" creationId="{1E88428F-63E2-1968-4861-D535FCCD6A03}"/>
          </ac:spMkLst>
        </pc:spChg>
        <pc:spChg chg="add mod">
          <ac:chgData name="Stina Ru" userId="a298bcda0a73aae4" providerId="LiveId" clId="{657B596C-D876-42C4-BC50-B91736D71345}" dt="2023-02-05T23:51:00.406" v="4631" actId="1076"/>
          <ac:spMkLst>
            <pc:docMk/>
            <pc:sldMk cId="2390154632" sldId="1269"/>
            <ac:spMk id="3" creationId="{85F627E2-0061-810B-C207-0E9FD8756860}"/>
          </ac:spMkLst>
        </pc:spChg>
        <pc:spChg chg="del mod">
          <ac:chgData name="Stina Ru" userId="a298bcda0a73aae4" providerId="LiveId" clId="{657B596C-D876-42C4-BC50-B91736D71345}" dt="2023-02-05T23:50:04.710" v="4610" actId="478"/>
          <ac:spMkLst>
            <pc:docMk/>
            <pc:sldMk cId="2390154632" sldId="1269"/>
            <ac:spMk id="6" creationId="{070F7C74-9112-406B-A0CC-08F6DDA1D2AF}"/>
          </ac:spMkLst>
        </pc:spChg>
        <pc:spChg chg="add del mod">
          <ac:chgData name="Stina Ru" userId="a298bcda0a73aae4" providerId="LiveId" clId="{657B596C-D876-42C4-BC50-B91736D71345}" dt="2023-02-05T23:50:07.433" v="4611" actId="478"/>
          <ac:spMkLst>
            <pc:docMk/>
            <pc:sldMk cId="2390154632" sldId="1269"/>
            <ac:spMk id="8" creationId="{A6B42ADA-2325-C5F0-76E7-EFDED02D6D78}"/>
          </ac:spMkLst>
        </pc:spChg>
        <pc:picChg chg="mod">
          <ac:chgData name="Stina Ru" userId="a298bcda0a73aae4" providerId="LiveId" clId="{657B596C-D876-42C4-BC50-B91736D71345}" dt="2023-02-05T23:47:58.911" v="4523" actId="14100"/>
          <ac:picMkLst>
            <pc:docMk/>
            <pc:sldMk cId="2390154632" sldId="1269"/>
            <ac:picMk id="5" creationId="{2F242DC2-5396-122A-048F-A0BC698301DB}"/>
          </ac:picMkLst>
        </pc:picChg>
      </pc:sldChg>
      <pc:sldChg chg="addSp delSp modSp add mod modClrScheme delAnim modAnim chgLayout">
        <pc:chgData name="Stina Ru" userId="a298bcda0a73aae4" providerId="LiveId" clId="{657B596C-D876-42C4-BC50-B91736D71345}" dt="2023-02-07T10:16:11.500" v="13368"/>
        <pc:sldMkLst>
          <pc:docMk/>
          <pc:sldMk cId="1096763772" sldId="1270"/>
        </pc:sldMkLst>
        <pc:spChg chg="del mod">
          <ac:chgData name="Stina Ru" userId="a298bcda0a73aae4" providerId="LiveId" clId="{657B596C-D876-42C4-BC50-B91736D71345}" dt="2023-02-06T17:25:20.778" v="4837" actId="478"/>
          <ac:spMkLst>
            <pc:docMk/>
            <pc:sldMk cId="1096763772" sldId="1270"/>
            <ac:spMk id="2" creationId="{1E88428F-63E2-1968-4861-D535FCCD6A03}"/>
          </ac:spMkLst>
        </pc:spChg>
        <pc:spChg chg="mod">
          <ac:chgData name="Stina Ru" userId="a298bcda0a73aae4" providerId="LiveId" clId="{657B596C-D876-42C4-BC50-B91736D71345}" dt="2023-02-06T21:56:04.483" v="12542" actId="113"/>
          <ac:spMkLst>
            <pc:docMk/>
            <pc:sldMk cId="1096763772" sldId="1270"/>
            <ac:spMk id="3" creationId="{85F627E2-0061-810B-C207-0E9FD8756860}"/>
          </ac:spMkLst>
        </pc:spChg>
        <pc:spChg chg="mod">
          <ac:chgData name="Stina Ru" userId="a298bcda0a73aae4" providerId="LiveId" clId="{657B596C-D876-42C4-BC50-B91736D71345}" dt="2023-02-06T17:25:34.576" v="4842" actId="26606"/>
          <ac:spMkLst>
            <pc:docMk/>
            <pc:sldMk cId="1096763772" sldId="1270"/>
            <ac:spMk id="4" creationId="{56F69610-9E3A-4D99-BF17-16DDE17C18CD}"/>
          </ac:spMkLst>
        </pc:spChg>
        <pc:spChg chg="mod">
          <ac:chgData name="Stina Ru" userId="a298bcda0a73aae4" providerId="LiveId" clId="{657B596C-D876-42C4-BC50-B91736D71345}" dt="2023-02-06T17:25:34.576" v="4842" actId="26606"/>
          <ac:spMkLst>
            <pc:docMk/>
            <pc:sldMk cId="1096763772" sldId="1270"/>
            <ac:spMk id="12" creationId="{13B203F9-1E27-4E57-902E-B40C20ADA7DF}"/>
          </ac:spMkLst>
        </pc:spChg>
        <pc:spChg chg="mod">
          <ac:chgData name="Stina Ru" userId="a298bcda0a73aae4" providerId="LiveId" clId="{657B596C-D876-42C4-BC50-B91736D71345}" dt="2023-02-06T17:25:34.576" v="4842" actId="26606"/>
          <ac:spMkLst>
            <pc:docMk/>
            <pc:sldMk cId="1096763772" sldId="1270"/>
            <ac:spMk id="13" creationId="{D9F45625-7754-4CE7-B147-A8EA001889A8}"/>
          </ac:spMkLst>
        </pc:spChg>
        <pc:spChg chg="add del mod">
          <ac:chgData name="Stina Ru" userId="a298bcda0a73aae4" providerId="LiveId" clId="{657B596C-D876-42C4-BC50-B91736D71345}" dt="2023-02-06T17:25:34.576" v="4842" actId="26606"/>
          <ac:spMkLst>
            <pc:docMk/>
            <pc:sldMk cId="1096763772" sldId="1270"/>
            <ac:spMk id="18" creationId="{36480809-572B-DCBD-B42F-4695D43B62B9}"/>
          </ac:spMkLst>
        </pc:spChg>
        <pc:spChg chg="add del mod">
          <ac:chgData name="Stina Ru" userId="a298bcda0a73aae4" providerId="LiveId" clId="{657B596C-D876-42C4-BC50-B91736D71345}" dt="2023-02-06T17:25:34.576" v="4842" actId="26606"/>
          <ac:spMkLst>
            <pc:docMk/>
            <pc:sldMk cId="1096763772" sldId="1270"/>
            <ac:spMk id="20" creationId="{42A79D04-0716-4928-3E89-F9FB812F6F31}"/>
          </ac:spMkLst>
        </pc:spChg>
        <pc:spChg chg="add del mod">
          <ac:chgData name="Stina Ru" userId="a298bcda0a73aae4" providerId="LiveId" clId="{657B596C-D876-42C4-BC50-B91736D71345}" dt="2023-02-06T17:25:34.576" v="4842" actId="26606"/>
          <ac:spMkLst>
            <pc:docMk/>
            <pc:sldMk cId="1096763772" sldId="1270"/>
            <ac:spMk id="22" creationId="{B7ABD808-DE0D-B3A1-D927-2899EEF9F9E9}"/>
          </ac:spMkLst>
        </pc:spChg>
        <pc:spChg chg="add del mod">
          <ac:chgData name="Stina Ru" userId="a298bcda0a73aae4" providerId="LiveId" clId="{657B596C-D876-42C4-BC50-B91736D71345}" dt="2023-02-06T17:25:34.576" v="4842" actId="26606"/>
          <ac:spMkLst>
            <pc:docMk/>
            <pc:sldMk cId="1096763772" sldId="1270"/>
            <ac:spMk id="24" creationId="{B32BAFC7-09E6-ADCA-3352-582A6C730150}"/>
          </ac:spMkLst>
        </pc:spChg>
        <pc:spChg chg="add del mod">
          <ac:chgData name="Stina Ru" userId="a298bcda0a73aae4" providerId="LiveId" clId="{657B596C-D876-42C4-BC50-B91736D71345}" dt="2023-02-06T17:25:34.576" v="4842" actId="26606"/>
          <ac:spMkLst>
            <pc:docMk/>
            <pc:sldMk cId="1096763772" sldId="1270"/>
            <ac:spMk id="26" creationId="{E205FD50-518A-D184-19DC-F5683B8D8F8F}"/>
          </ac:spMkLst>
        </pc:spChg>
        <pc:spChg chg="add del mod">
          <ac:chgData name="Stina Ru" userId="a298bcda0a73aae4" providerId="LiveId" clId="{657B596C-D876-42C4-BC50-B91736D71345}" dt="2023-02-06T17:25:34.576" v="4842" actId="26606"/>
          <ac:spMkLst>
            <pc:docMk/>
            <pc:sldMk cId="1096763772" sldId="1270"/>
            <ac:spMk id="28" creationId="{413A1D83-AEFE-C53F-0188-E5D33D5F4CAB}"/>
          </ac:spMkLst>
        </pc:spChg>
        <pc:picChg chg="mod">
          <ac:chgData name="Stina Ru" userId="a298bcda0a73aae4" providerId="LiveId" clId="{657B596C-D876-42C4-BC50-B91736D71345}" dt="2023-02-06T17:25:34.576" v="4842" actId="26606"/>
          <ac:picMkLst>
            <pc:docMk/>
            <pc:sldMk cId="1096763772" sldId="1270"/>
            <ac:picMk id="5" creationId="{2F242DC2-5396-122A-048F-A0BC698301DB}"/>
          </ac:picMkLst>
        </pc:picChg>
        <pc:picChg chg="add del mod">
          <ac:chgData name="Stina Ru" userId="a298bcda0a73aae4" providerId="LiveId" clId="{657B596C-D876-42C4-BC50-B91736D71345}" dt="2023-02-06T17:25:18.153" v="4836" actId="21"/>
          <ac:picMkLst>
            <pc:docMk/>
            <pc:sldMk cId="1096763772" sldId="1270"/>
            <ac:picMk id="6" creationId="{69D013CE-B256-F942-5EE7-EE8548EBD0C2}"/>
          </ac:picMkLst>
        </pc:picChg>
        <pc:picChg chg="add mod ord">
          <ac:chgData name="Stina Ru" userId="a298bcda0a73aae4" providerId="LiveId" clId="{657B596C-D876-42C4-BC50-B91736D71345}" dt="2023-02-06T17:25:44.928" v="4846" actId="1076"/>
          <ac:picMkLst>
            <pc:docMk/>
            <pc:sldMk cId="1096763772" sldId="1270"/>
            <ac:picMk id="7" creationId="{4CDD8EF1-D173-F32A-A894-AA3CC9677E3A}"/>
          </ac:picMkLst>
        </pc:picChg>
        <pc:picChg chg="add mod">
          <ac:chgData name="Stina Ru" userId="a298bcda0a73aae4" providerId="LiveId" clId="{657B596C-D876-42C4-BC50-B91736D71345}" dt="2023-02-06T17:25:58.334" v="4849" actId="1076"/>
          <ac:picMkLst>
            <pc:docMk/>
            <pc:sldMk cId="1096763772" sldId="1270"/>
            <ac:picMk id="8" creationId="{F083A10B-6395-DBB7-59CA-135E43EAC6D5}"/>
          </ac:picMkLst>
        </pc:picChg>
        <pc:picChg chg="add mod">
          <ac:chgData name="Stina Ru" userId="a298bcda0a73aae4" providerId="LiveId" clId="{657B596C-D876-42C4-BC50-B91736D71345}" dt="2023-02-06T17:28:41.428" v="5043" actId="1076"/>
          <ac:picMkLst>
            <pc:docMk/>
            <pc:sldMk cId="1096763772" sldId="1270"/>
            <ac:picMk id="9" creationId="{0DE6BC20-E1E9-41F0-0731-29F49E15F2A2}"/>
          </ac:picMkLst>
        </pc:picChg>
        <pc:picChg chg="add mod">
          <ac:chgData name="Stina Ru" userId="a298bcda0a73aae4" providerId="LiveId" clId="{657B596C-D876-42C4-BC50-B91736D71345}" dt="2023-02-06T17:28:52.957" v="5045" actId="1076"/>
          <ac:picMkLst>
            <pc:docMk/>
            <pc:sldMk cId="1096763772" sldId="1270"/>
            <ac:picMk id="10" creationId="{7F437F4D-F0C7-189A-6322-18E2C526D489}"/>
          </ac:picMkLst>
        </pc:picChg>
        <pc:picChg chg="add del mod">
          <ac:chgData name="Stina Ru" userId="a298bcda0a73aae4" providerId="LiveId" clId="{657B596C-D876-42C4-BC50-B91736D71345}" dt="2023-02-06T17:29:40.059" v="5056"/>
          <ac:picMkLst>
            <pc:docMk/>
            <pc:sldMk cId="1096763772" sldId="1270"/>
            <ac:picMk id="11" creationId="{5A4F4D4A-26A2-927F-474F-324594092F6C}"/>
          </ac:picMkLst>
        </pc:picChg>
      </pc:sldChg>
      <pc:sldChg chg="modSp add mod modAnim">
        <pc:chgData name="Stina Ru" userId="a298bcda0a73aae4" providerId="LiveId" clId="{657B596C-D876-42C4-BC50-B91736D71345}" dt="2023-02-07T10:17:01.544" v="13382" actId="20577"/>
        <pc:sldMkLst>
          <pc:docMk/>
          <pc:sldMk cId="3813649907" sldId="1271"/>
        </pc:sldMkLst>
        <pc:spChg chg="mod">
          <ac:chgData name="Stina Ru" userId="a298bcda0a73aae4" providerId="LiveId" clId="{657B596C-D876-42C4-BC50-B91736D71345}" dt="2023-02-07T10:17:01.544" v="13382" actId="20577"/>
          <ac:spMkLst>
            <pc:docMk/>
            <pc:sldMk cId="3813649907" sldId="1271"/>
            <ac:spMk id="3" creationId="{85F627E2-0061-810B-C207-0E9FD8756860}"/>
          </ac:spMkLst>
        </pc:spChg>
        <pc:picChg chg="mod">
          <ac:chgData name="Stina Ru" userId="a298bcda0a73aae4" providerId="LiveId" clId="{657B596C-D876-42C4-BC50-B91736D71345}" dt="2023-02-06T21:58:57.283" v="12555" actId="1076"/>
          <ac:picMkLst>
            <pc:docMk/>
            <pc:sldMk cId="3813649907" sldId="1271"/>
            <ac:picMk id="7" creationId="{4CDD8EF1-D173-F32A-A894-AA3CC9677E3A}"/>
          </ac:picMkLst>
        </pc:picChg>
        <pc:picChg chg="mod">
          <ac:chgData name="Stina Ru" userId="a298bcda0a73aae4" providerId="LiveId" clId="{657B596C-D876-42C4-BC50-B91736D71345}" dt="2023-02-06T21:58:54.077" v="12554" actId="1076"/>
          <ac:picMkLst>
            <pc:docMk/>
            <pc:sldMk cId="3813649907" sldId="1271"/>
            <ac:picMk id="8" creationId="{F083A10B-6395-DBB7-59CA-135E43EAC6D5}"/>
          </ac:picMkLst>
        </pc:picChg>
      </pc:sldChg>
      <pc:sldChg chg="modSp add mod ord">
        <pc:chgData name="Stina Ru" userId="a298bcda0a73aae4" providerId="LiveId" clId="{657B596C-D876-42C4-BC50-B91736D71345}" dt="2023-02-06T21:52:40.847" v="12537" actId="1076"/>
        <pc:sldMkLst>
          <pc:docMk/>
          <pc:sldMk cId="426050051" sldId="1272"/>
        </pc:sldMkLst>
        <pc:spChg chg="mod">
          <ac:chgData name="Stina Ru" userId="a298bcda0a73aae4" providerId="LiveId" clId="{657B596C-D876-42C4-BC50-B91736D71345}" dt="2023-02-06T21:17:13.292" v="12121" actId="255"/>
          <ac:spMkLst>
            <pc:docMk/>
            <pc:sldMk cId="426050051" sldId="1272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21:52:40.847" v="12537" actId="1076"/>
          <ac:spMkLst>
            <pc:docMk/>
            <pc:sldMk cId="426050051" sldId="1272"/>
            <ac:spMk id="3" creationId="{0EBE899E-D4B3-37EB-C706-EE2BF648C3A7}"/>
          </ac:spMkLst>
        </pc:spChg>
      </pc:sldChg>
      <pc:sldChg chg="modSp add mod">
        <pc:chgData name="Stina Ru" userId="a298bcda0a73aae4" providerId="LiveId" clId="{657B596C-D876-42C4-BC50-B91736D71345}" dt="2023-02-06T21:17:32.401" v="12123" actId="1076"/>
        <pc:sldMkLst>
          <pc:docMk/>
          <pc:sldMk cId="4156761551" sldId="1273"/>
        </pc:sldMkLst>
        <pc:spChg chg="mod">
          <ac:chgData name="Stina Ru" userId="a298bcda0a73aae4" providerId="LiveId" clId="{657B596C-D876-42C4-BC50-B91736D71345}" dt="2023-02-06T21:17:28.319" v="12122" actId="255"/>
          <ac:spMkLst>
            <pc:docMk/>
            <pc:sldMk cId="4156761551" sldId="1273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21:17:32.401" v="12123" actId="1076"/>
          <ac:spMkLst>
            <pc:docMk/>
            <pc:sldMk cId="4156761551" sldId="1273"/>
            <ac:spMk id="3" creationId="{0EBE899E-D4B3-37EB-C706-EE2BF648C3A7}"/>
          </ac:spMkLst>
        </pc:spChg>
      </pc:sldChg>
      <pc:sldChg chg="addSp modSp add mod">
        <pc:chgData name="Stina Ru" userId="a298bcda0a73aae4" providerId="LiveId" clId="{657B596C-D876-42C4-BC50-B91736D71345}" dt="2023-02-06T17:59:31.266" v="5811" actId="1076"/>
        <pc:sldMkLst>
          <pc:docMk/>
          <pc:sldMk cId="1394367842" sldId="1274"/>
        </pc:sldMkLst>
        <pc:spChg chg="add mod">
          <ac:chgData name="Stina Ru" userId="a298bcda0a73aae4" providerId="LiveId" clId="{657B596C-D876-42C4-BC50-B91736D71345}" dt="2023-02-06T17:58:57.248" v="5792" actId="207"/>
          <ac:spMkLst>
            <pc:docMk/>
            <pc:sldMk cId="1394367842" sldId="1274"/>
            <ac:spMk id="3" creationId="{403A699A-30A4-6D2E-801E-0EEF0AA9CAEF}"/>
          </ac:spMkLst>
        </pc:spChg>
        <pc:spChg chg="mod">
          <ac:chgData name="Stina Ru" userId="a298bcda0a73aae4" providerId="LiveId" clId="{657B596C-D876-42C4-BC50-B91736D71345}" dt="2023-02-06T17:59:15.923" v="5807" actId="20577"/>
          <ac:spMkLst>
            <pc:docMk/>
            <pc:sldMk cId="1394367842" sldId="1274"/>
            <ac:spMk id="6" creationId="{070F7C74-9112-406B-A0CC-08F6DDA1D2AF}"/>
          </ac:spMkLst>
        </pc:spChg>
        <pc:picChg chg="mod">
          <ac:chgData name="Stina Ru" userId="a298bcda0a73aae4" providerId="LiveId" clId="{657B596C-D876-42C4-BC50-B91736D71345}" dt="2023-02-06T17:59:05.999" v="5794" actId="1076"/>
          <ac:picMkLst>
            <pc:docMk/>
            <pc:sldMk cId="1394367842" sldId="1274"/>
            <ac:picMk id="5" creationId="{2F242DC2-5396-122A-048F-A0BC698301DB}"/>
          </ac:picMkLst>
        </pc:picChg>
        <pc:picChg chg="add mod">
          <ac:chgData name="Stina Ru" userId="a298bcda0a73aae4" providerId="LiveId" clId="{657B596C-D876-42C4-BC50-B91736D71345}" dt="2023-02-06T17:59:21.333" v="5809" actId="14100"/>
          <ac:picMkLst>
            <pc:docMk/>
            <pc:sldMk cId="1394367842" sldId="1274"/>
            <ac:picMk id="7" creationId="{E6ED25C3-2B19-9A14-B900-D8D13733BDD1}"/>
          </ac:picMkLst>
        </pc:picChg>
        <pc:cxnChg chg="add mod">
          <ac:chgData name="Stina Ru" userId="a298bcda0a73aae4" providerId="LiveId" clId="{657B596C-D876-42C4-BC50-B91736D71345}" dt="2023-02-06T17:59:31.266" v="5811" actId="1076"/>
          <ac:cxnSpMkLst>
            <pc:docMk/>
            <pc:sldMk cId="1394367842" sldId="1274"/>
            <ac:cxnSpMk id="9" creationId="{13AB4DEB-A1F5-328C-F457-2F4DC26CA2CD}"/>
          </ac:cxnSpMkLst>
        </pc:cxnChg>
      </pc:sldChg>
      <pc:sldChg chg="addSp delSp modSp add mod modAnim">
        <pc:chgData name="Stina Ru" userId="a298bcda0a73aae4" providerId="LiveId" clId="{657B596C-D876-42C4-BC50-B91736D71345}" dt="2023-02-07T10:17:27.461" v="13386"/>
        <pc:sldMkLst>
          <pc:docMk/>
          <pc:sldMk cId="220957209" sldId="1275"/>
        </pc:sldMkLst>
        <pc:spChg chg="mod">
          <ac:chgData name="Stina Ru" userId="a298bcda0a73aae4" providerId="LiveId" clId="{657B596C-D876-42C4-BC50-B91736D71345}" dt="2023-02-06T18:13:28.839" v="6913" actId="20577"/>
          <ac:spMkLst>
            <pc:docMk/>
            <pc:sldMk cId="220957209" sldId="1275"/>
            <ac:spMk id="3" creationId="{85F627E2-0061-810B-C207-0E9FD8756860}"/>
          </ac:spMkLst>
        </pc:spChg>
        <pc:picChg chg="add mod">
          <ac:chgData name="Stina Ru" userId="a298bcda0a73aae4" providerId="LiveId" clId="{657B596C-D876-42C4-BC50-B91736D71345}" dt="2023-02-06T18:01:09.946" v="5851" actId="14100"/>
          <ac:picMkLst>
            <pc:docMk/>
            <pc:sldMk cId="220957209" sldId="1275"/>
            <ac:picMk id="2" creationId="{F87A44B0-0398-F411-0962-4B73A5123136}"/>
          </ac:picMkLst>
        </pc:picChg>
        <pc:picChg chg="del">
          <ac:chgData name="Stina Ru" userId="a298bcda0a73aae4" providerId="LiveId" clId="{657B596C-D876-42C4-BC50-B91736D71345}" dt="2023-02-06T18:00:59.286" v="5847" actId="478"/>
          <ac:picMkLst>
            <pc:docMk/>
            <pc:sldMk cId="220957209" sldId="1275"/>
            <ac:picMk id="5" creationId="{2F242DC2-5396-122A-048F-A0BC698301DB}"/>
          </ac:picMkLst>
        </pc:picChg>
        <pc:picChg chg="add del mod">
          <ac:chgData name="Stina Ru" userId="a298bcda0a73aae4" providerId="LiveId" clId="{657B596C-D876-42C4-BC50-B91736D71345}" dt="2023-02-06T18:07:53.691" v="6546"/>
          <ac:picMkLst>
            <pc:docMk/>
            <pc:sldMk cId="220957209" sldId="1275"/>
            <ac:picMk id="6" creationId="{9C4C03B3-4BAF-3246-98D2-BF8CEDAAD182}"/>
          </ac:picMkLst>
        </pc:picChg>
        <pc:picChg chg="mod">
          <ac:chgData name="Stina Ru" userId="a298bcda0a73aae4" providerId="LiveId" clId="{657B596C-D876-42C4-BC50-B91736D71345}" dt="2023-02-06T18:05:47.591" v="6369" actId="1076"/>
          <ac:picMkLst>
            <pc:docMk/>
            <pc:sldMk cId="220957209" sldId="1275"/>
            <ac:picMk id="7" creationId="{4CDD8EF1-D173-F32A-A894-AA3CC9677E3A}"/>
          </ac:picMkLst>
        </pc:picChg>
        <pc:picChg chg="mod">
          <ac:chgData name="Stina Ru" userId="a298bcda0a73aae4" providerId="LiveId" clId="{657B596C-D876-42C4-BC50-B91736D71345}" dt="2023-02-06T18:05:54.072" v="6370" actId="1076"/>
          <ac:picMkLst>
            <pc:docMk/>
            <pc:sldMk cId="220957209" sldId="1275"/>
            <ac:picMk id="8" creationId="{F083A10B-6395-DBB7-59CA-135E43EAC6D5}"/>
          </ac:picMkLst>
        </pc:picChg>
        <pc:picChg chg="mod">
          <ac:chgData name="Stina Ru" userId="a298bcda0a73aae4" providerId="LiveId" clId="{657B596C-D876-42C4-BC50-B91736D71345}" dt="2023-02-06T18:06:02.782" v="6372" actId="1076"/>
          <ac:picMkLst>
            <pc:docMk/>
            <pc:sldMk cId="220957209" sldId="1275"/>
            <ac:picMk id="9" creationId="{0DE6BC20-E1E9-41F0-0731-29F49E15F2A2}"/>
          </ac:picMkLst>
        </pc:picChg>
        <pc:picChg chg="mod">
          <ac:chgData name="Stina Ru" userId="a298bcda0a73aae4" providerId="LiveId" clId="{657B596C-D876-42C4-BC50-B91736D71345}" dt="2023-02-06T18:05:57.758" v="6371" actId="1076"/>
          <ac:picMkLst>
            <pc:docMk/>
            <pc:sldMk cId="220957209" sldId="1275"/>
            <ac:picMk id="10" creationId="{7F437F4D-F0C7-189A-6322-18E2C526D489}"/>
          </ac:picMkLst>
        </pc:picChg>
      </pc:sldChg>
      <pc:sldChg chg="modSp add mod modAnim">
        <pc:chgData name="Stina Ru" userId="a298bcda0a73aae4" providerId="LiveId" clId="{657B596C-D876-42C4-BC50-B91736D71345}" dt="2023-02-07T10:17:50.040" v="13390"/>
        <pc:sldMkLst>
          <pc:docMk/>
          <pc:sldMk cId="2331273726" sldId="1276"/>
        </pc:sldMkLst>
        <pc:spChg chg="mod">
          <ac:chgData name="Stina Ru" userId="a298bcda0a73aae4" providerId="LiveId" clId="{657B596C-D876-42C4-BC50-B91736D71345}" dt="2023-02-07T10:14:34.665" v="13361" actId="20577"/>
          <ac:spMkLst>
            <pc:docMk/>
            <pc:sldMk cId="2331273726" sldId="1276"/>
            <ac:spMk id="3" creationId="{85F627E2-0061-810B-C207-0E9FD8756860}"/>
          </ac:spMkLst>
        </pc:spChg>
        <pc:picChg chg="mod">
          <ac:chgData name="Stina Ru" userId="a298bcda0a73aae4" providerId="LiveId" clId="{657B596C-D876-42C4-BC50-B91736D71345}" dt="2023-02-07T10:14:11.351" v="13357" actId="1076"/>
          <ac:picMkLst>
            <pc:docMk/>
            <pc:sldMk cId="2331273726" sldId="1276"/>
            <ac:picMk id="7" creationId="{4CDD8EF1-D173-F32A-A894-AA3CC9677E3A}"/>
          </ac:picMkLst>
        </pc:picChg>
        <pc:picChg chg="mod">
          <ac:chgData name="Stina Ru" userId="a298bcda0a73aae4" providerId="LiveId" clId="{657B596C-D876-42C4-BC50-B91736D71345}" dt="2023-02-07T10:14:16.550" v="13358" actId="1076"/>
          <ac:picMkLst>
            <pc:docMk/>
            <pc:sldMk cId="2331273726" sldId="1276"/>
            <ac:picMk id="8" creationId="{F083A10B-6395-DBB7-59CA-135E43EAC6D5}"/>
          </ac:picMkLst>
        </pc:picChg>
        <pc:picChg chg="mod">
          <ac:chgData name="Stina Ru" userId="a298bcda0a73aae4" providerId="LiveId" clId="{657B596C-D876-42C4-BC50-B91736D71345}" dt="2023-02-07T10:14:22.738" v="13359" actId="1076"/>
          <ac:picMkLst>
            <pc:docMk/>
            <pc:sldMk cId="2331273726" sldId="1276"/>
            <ac:picMk id="9" creationId="{0DE6BC20-E1E9-41F0-0731-29F49E15F2A2}"/>
          </ac:picMkLst>
        </pc:picChg>
        <pc:picChg chg="mod">
          <ac:chgData name="Stina Ru" userId="a298bcda0a73aae4" providerId="LiveId" clId="{657B596C-D876-42C4-BC50-B91736D71345}" dt="2023-02-07T10:14:27.179" v="13360" actId="1076"/>
          <ac:picMkLst>
            <pc:docMk/>
            <pc:sldMk cId="2331273726" sldId="1276"/>
            <ac:picMk id="10" creationId="{7F437F4D-F0C7-189A-6322-18E2C526D489}"/>
          </ac:picMkLst>
        </pc:picChg>
      </pc:sldChg>
      <pc:sldChg chg="modSp add mod">
        <pc:chgData name="Stina Ru" userId="a298bcda0a73aae4" providerId="LiveId" clId="{657B596C-D876-42C4-BC50-B91736D71345}" dt="2023-02-06T21:17:48.433" v="12126" actId="14100"/>
        <pc:sldMkLst>
          <pc:docMk/>
          <pc:sldMk cId="2911651998" sldId="1277"/>
        </pc:sldMkLst>
        <pc:spChg chg="mod">
          <ac:chgData name="Stina Ru" userId="a298bcda0a73aae4" providerId="LiveId" clId="{657B596C-D876-42C4-BC50-B91736D71345}" dt="2023-02-06T21:17:48.433" v="12126" actId="14100"/>
          <ac:spMkLst>
            <pc:docMk/>
            <pc:sldMk cId="2911651998" sldId="1277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21:17:41.111" v="12124" actId="207"/>
          <ac:spMkLst>
            <pc:docMk/>
            <pc:sldMk cId="2911651998" sldId="1277"/>
            <ac:spMk id="3" creationId="{0EBE899E-D4B3-37EB-C706-EE2BF648C3A7}"/>
          </ac:spMkLst>
        </pc:spChg>
      </pc:sldChg>
      <pc:sldChg chg="modSp add mod">
        <pc:chgData name="Stina Ru" userId="a298bcda0a73aae4" providerId="LiveId" clId="{657B596C-D876-42C4-BC50-B91736D71345}" dt="2023-02-06T21:17:54.747" v="12127" actId="255"/>
        <pc:sldMkLst>
          <pc:docMk/>
          <pc:sldMk cId="1665445333" sldId="1278"/>
        </pc:sldMkLst>
        <pc:spChg chg="mod">
          <ac:chgData name="Stina Ru" userId="a298bcda0a73aae4" providerId="LiveId" clId="{657B596C-D876-42C4-BC50-B91736D71345}" dt="2023-02-06T21:17:54.747" v="12127" actId="255"/>
          <ac:spMkLst>
            <pc:docMk/>
            <pc:sldMk cId="1665445333" sldId="1278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18:22:47.075" v="7061" actId="113"/>
          <ac:spMkLst>
            <pc:docMk/>
            <pc:sldMk cId="1665445333" sldId="1278"/>
            <ac:spMk id="3" creationId="{0EBE899E-D4B3-37EB-C706-EE2BF648C3A7}"/>
          </ac:spMkLst>
        </pc:spChg>
      </pc:sldChg>
      <pc:sldChg chg="modSp add mod">
        <pc:chgData name="Stina Ru" userId="a298bcda0a73aae4" providerId="LiveId" clId="{657B596C-D876-42C4-BC50-B91736D71345}" dt="2023-02-06T21:18:06.774" v="12133" actId="20577"/>
        <pc:sldMkLst>
          <pc:docMk/>
          <pc:sldMk cId="2725466047" sldId="1279"/>
        </pc:sldMkLst>
        <pc:spChg chg="mod">
          <ac:chgData name="Stina Ru" userId="a298bcda0a73aae4" providerId="LiveId" clId="{657B596C-D876-42C4-BC50-B91736D71345}" dt="2023-02-06T21:18:06.774" v="12133" actId="20577"/>
          <ac:spMkLst>
            <pc:docMk/>
            <pc:sldMk cId="2725466047" sldId="1279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18:54:12.264" v="7730" actId="113"/>
          <ac:spMkLst>
            <pc:docMk/>
            <pc:sldMk cId="2725466047" sldId="1279"/>
            <ac:spMk id="3" creationId="{0EBE899E-D4B3-37EB-C706-EE2BF648C3A7}"/>
          </ac:spMkLst>
        </pc:spChg>
      </pc:sldChg>
      <pc:sldChg chg="add del">
        <pc:chgData name="Stina Ru" userId="a298bcda0a73aae4" providerId="LiveId" clId="{657B596C-D876-42C4-BC50-B91736D71345}" dt="2023-02-06T18:53:42.375" v="7720" actId="47"/>
        <pc:sldMkLst>
          <pc:docMk/>
          <pc:sldMk cId="1740053543" sldId="1280"/>
        </pc:sldMkLst>
      </pc:sldChg>
      <pc:sldChg chg="addSp delSp modSp add mod modAnim">
        <pc:chgData name="Stina Ru" userId="a298bcda0a73aae4" providerId="LiveId" clId="{657B596C-D876-42C4-BC50-B91736D71345}" dt="2023-02-06T22:10:57.419" v="12743" actId="255"/>
        <pc:sldMkLst>
          <pc:docMk/>
          <pc:sldMk cId="3649236146" sldId="1280"/>
        </pc:sldMkLst>
        <pc:spChg chg="mod">
          <ac:chgData name="Stina Ru" userId="a298bcda0a73aae4" providerId="LiveId" clId="{657B596C-D876-42C4-BC50-B91736D71345}" dt="2023-02-06T18:55:09.509" v="7773" actId="20577"/>
          <ac:spMkLst>
            <pc:docMk/>
            <pc:sldMk cId="3649236146" sldId="1280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18:55:52.904" v="7832" actId="313"/>
          <ac:spMkLst>
            <pc:docMk/>
            <pc:sldMk cId="3649236146" sldId="1280"/>
            <ac:spMk id="3" creationId="{62E373E2-E479-4B85-B011-875D0EA60F4A}"/>
          </ac:spMkLst>
        </pc:spChg>
        <pc:spChg chg="add mod">
          <ac:chgData name="Stina Ru" userId="a298bcda0a73aae4" providerId="LiveId" clId="{657B596C-D876-42C4-BC50-B91736D71345}" dt="2023-02-06T22:07:14.676" v="12615" actId="113"/>
          <ac:spMkLst>
            <pc:docMk/>
            <pc:sldMk cId="3649236146" sldId="1280"/>
            <ac:spMk id="7" creationId="{279AAF28-810A-B8AF-8D5A-8A9B801A9C8C}"/>
          </ac:spMkLst>
        </pc:spChg>
        <pc:spChg chg="add del mod">
          <ac:chgData name="Stina Ru" userId="a298bcda0a73aae4" providerId="LiveId" clId="{657B596C-D876-42C4-BC50-B91736D71345}" dt="2023-02-06T19:28:01.722" v="8778" actId="478"/>
          <ac:spMkLst>
            <pc:docMk/>
            <pc:sldMk cId="3649236146" sldId="1280"/>
            <ac:spMk id="9" creationId="{8BEB8C9F-86BC-33D1-8F99-8EBBD58C8A54}"/>
          </ac:spMkLst>
        </pc:spChg>
        <pc:spChg chg="add mod">
          <ac:chgData name="Stina Ru" userId="a298bcda0a73aae4" providerId="LiveId" clId="{657B596C-D876-42C4-BC50-B91736D71345}" dt="2023-02-06T22:10:57.419" v="12743" actId="255"/>
          <ac:spMkLst>
            <pc:docMk/>
            <pc:sldMk cId="3649236146" sldId="1280"/>
            <ac:spMk id="10" creationId="{37ED06E6-C25C-C70A-39B2-34C6B19326F3}"/>
          </ac:spMkLst>
        </pc:spChg>
        <pc:spChg chg="add mod">
          <ac:chgData name="Stina Ru" userId="a298bcda0a73aae4" providerId="LiveId" clId="{657B596C-D876-42C4-BC50-B91736D71345}" dt="2023-02-06T22:08:18.712" v="12670" actId="6549"/>
          <ac:spMkLst>
            <pc:docMk/>
            <pc:sldMk cId="3649236146" sldId="1280"/>
            <ac:spMk id="11" creationId="{69F00198-23D7-B9D6-D383-9CCAB9D9A649}"/>
          </ac:spMkLst>
        </pc:spChg>
        <pc:graphicFrameChg chg="add mod modGraphic">
          <ac:chgData name="Stina Ru" userId="a298bcda0a73aae4" providerId="LiveId" clId="{657B596C-D876-42C4-BC50-B91736D71345}" dt="2023-02-06T22:09:51.760" v="12708" actId="1076"/>
          <ac:graphicFrameMkLst>
            <pc:docMk/>
            <pc:sldMk cId="3649236146" sldId="1280"/>
            <ac:graphicFrameMk id="6" creationId="{7AC6F69A-76F4-6795-ACC6-67D05ECDBAE2}"/>
          </ac:graphicFrameMkLst>
        </pc:graphicFrameChg>
        <pc:picChg chg="del">
          <ac:chgData name="Stina Ru" userId="a298bcda0a73aae4" providerId="LiveId" clId="{657B596C-D876-42C4-BC50-B91736D71345}" dt="2023-02-06T18:55:11.436" v="7774" actId="478"/>
          <ac:picMkLst>
            <pc:docMk/>
            <pc:sldMk cId="3649236146" sldId="1280"/>
            <ac:picMk id="8" creationId="{78861A5F-F8D4-6F4D-1B91-667772710955}"/>
          </ac:picMkLst>
        </pc:picChg>
      </pc:sldChg>
      <pc:sldChg chg="modSp add mod">
        <pc:chgData name="Stina Ru" userId="a298bcda0a73aae4" providerId="LiveId" clId="{657B596C-D876-42C4-BC50-B91736D71345}" dt="2023-02-06T21:18:20.848" v="12134" actId="255"/>
        <pc:sldMkLst>
          <pc:docMk/>
          <pc:sldMk cId="3520260840" sldId="1281"/>
        </pc:sldMkLst>
        <pc:spChg chg="mod">
          <ac:chgData name="Stina Ru" userId="a298bcda0a73aae4" providerId="LiveId" clId="{657B596C-D876-42C4-BC50-B91736D71345}" dt="2023-02-06T21:18:20.848" v="12134" actId="255"/>
          <ac:spMkLst>
            <pc:docMk/>
            <pc:sldMk cId="3520260840" sldId="1281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19:42:27.657" v="9586" actId="113"/>
          <ac:spMkLst>
            <pc:docMk/>
            <pc:sldMk cId="3520260840" sldId="1281"/>
            <ac:spMk id="3" creationId="{0EBE899E-D4B3-37EB-C706-EE2BF648C3A7}"/>
          </ac:spMkLst>
        </pc:spChg>
      </pc:sldChg>
      <pc:sldChg chg="addSp delSp modSp add mod modAnim">
        <pc:chgData name="Stina Ru" userId="a298bcda0a73aae4" providerId="LiveId" clId="{657B596C-D876-42C4-BC50-B91736D71345}" dt="2023-02-06T22:14:46.625" v="12828" actId="113"/>
        <pc:sldMkLst>
          <pc:docMk/>
          <pc:sldMk cId="179254202" sldId="1282"/>
        </pc:sldMkLst>
        <pc:spChg chg="mod">
          <ac:chgData name="Stina Ru" userId="a298bcda0a73aae4" providerId="LiveId" clId="{657B596C-D876-42C4-BC50-B91736D71345}" dt="2023-02-06T19:46:31.335" v="9611" actId="1076"/>
          <ac:spMkLst>
            <pc:docMk/>
            <pc:sldMk cId="179254202" sldId="1282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22:14:22.675" v="12795" actId="21"/>
          <ac:spMkLst>
            <pc:docMk/>
            <pc:sldMk cId="179254202" sldId="1282"/>
            <ac:spMk id="3" creationId="{62E373E2-E479-4B85-B011-875D0EA60F4A}"/>
          </ac:spMkLst>
        </pc:spChg>
        <pc:spChg chg="add mod">
          <ac:chgData name="Stina Ru" userId="a298bcda0a73aae4" providerId="LiveId" clId="{657B596C-D876-42C4-BC50-B91736D71345}" dt="2023-02-06T22:12:27.206" v="12751" actId="767"/>
          <ac:spMkLst>
            <pc:docMk/>
            <pc:sldMk cId="179254202" sldId="1282"/>
            <ac:spMk id="7" creationId="{70673864-B67E-BDF5-B61C-1B946D04CF41}"/>
          </ac:spMkLst>
        </pc:spChg>
        <pc:spChg chg="add mod">
          <ac:chgData name="Stina Ru" userId="a298bcda0a73aae4" providerId="LiveId" clId="{657B596C-D876-42C4-BC50-B91736D71345}" dt="2023-02-06T22:13:09.584" v="12766" actId="207"/>
          <ac:spMkLst>
            <pc:docMk/>
            <pc:sldMk cId="179254202" sldId="1282"/>
            <ac:spMk id="9" creationId="{73A1C2E3-3667-A4DF-BB19-AD03912A1447}"/>
          </ac:spMkLst>
        </pc:spChg>
        <pc:spChg chg="add mod">
          <ac:chgData name="Stina Ru" userId="a298bcda0a73aae4" providerId="LiveId" clId="{657B596C-D876-42C4-BC50-B91736D71345}" dt="2023-02-06T22:13:52.427" v="12788" actId="1076"/>
          <ac:spMkLst>
            <pc:docMk/>
            <pc:sldMk cId="179254202" sldId="1282"/>
            <ac:spMk id="10" creationId="{A587838A-1CF5-8769-3738-C57F83F45FBD}"/>
          </ac:spMkLst>
        </pc:spChg>
        <pc:spChg chg="add mod">
          <ac:chgData name="Stina Ru" userId="a298bcda0a73aae4" providerId="LiveId" clId="{657B596C-D876-42C4-BC50-B91736D71345}" dt="2023-02-06T22:14:46.625" v="12828" actId="113"/>
          <ac:spMkLst>
            <pc:docMk/>
            <pc:sldMk cId="179254202" sldId="1282"/>
            <ac:spMk id="11" creationId="{A61807AE-7251-700B-C459-493236E22749}"/>
          </ac:spMkLst>
        </pc:spChg>
        <pc:graphicFrameChg chg="add mod modGraphic">
          <ac:chgData name="Stina Ru" userId="a298bcda0a73aae4" providerId="LiveId" clId="{657B596C-D876-42C4-BC50-B91736D71345}" dt="2023-02-06T20:30:26.754" v="9923" actId="1076"/>
          <ac:graphicFrameMkLst>
            <pc:docMk/>
            <pc:sldMk cId="179254202" sldId="1282"/>
            <ac:graphicFrameMk id="6" creationId="{1A68394D-9856-487A-B4AD-227E8A61ECF9}"/>
          </ac:graphicFrameMkLst>
        </pc:graphicFrameChg>
        <pc:picChg chg="del">
          <ac:chgData name="Stina Ru" userId="a298bcda0a73aae4" providerId="LiveId" clId="{657B596C-D876-42C4-BC50-B91736D71345}" dt="2023-02-06T19:46:22.659" v="9609" actId="478"/>
          <ac:picMkLst>
            <pc:docMk/>
            <pc:sldMk cId="179254202" sldId="1282"/>
            <ac:picMk id="8" creationId="{78861A5F-F8D4-6F4D-1B91-667772710955}"/>
          </ac:picMkLst>
        </pc:picChg>
      </pc:sldChg>
      <pc:sldChg chg="modSp add mod">
        <pc:chgData name="Stina Ru" userId="a298bcda0a73aae4" providerId="LiveId" clId="{657B596C-D876-42C4-BC50-B91736D71345}" dt="2023-02-06T21:18:30.621" v="12135" actId="255"/>
        <pc:sldMkLst>
          <pc:docMk/>
          <pc:sldMk cId="49591064" sldId="1283"/>
        </pc:sldMkLst>
        <pc:spChg chg="mod">
          <ac:chgData name="Stina Ru" userId="a298bcda0a73aae4" providerId="LiveId" clId="{657B596C-D876-42C4-BC50-B91736D71345}" dt="2023-02-06T21:18:30.621" v="12135" actId="255"/>
          <ac:spMkLst>
            <pc:docMk/>
            <pc:sldMk cId="49591064" sldId="1283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20:38:29.182" v="10240" actId="14100"/>
          <ac:spMkLst>
            <pc:docMk/>
            <pc:sldMk cId="49591064" sldId="1283"/>
            <ac:spMk id="3" creationId="{0EBE899E-D4B3-37EB-C706-EE2BF648C3A7}"/>
          </ac:spMkLst>
        </pc:spChg>
      </pc:sldChg>
      <pc:sldChg chg="delSp modSp add del mod">
        <pc:chgData name="Stina Ru" userId="a298bcda0a73aae4" providerId="LiveId" clId="{657B596C-D876-42C4-BC50-B91736D71345}" dt="2023-02-06T20:36:40.513" v="10210" actId="47"/>
        <pc:sldMkLst>
          <pc:docMk/>
          <pc:sldMk cId="4098112114" sldId="1283"/>
        </pc:sldMkLst>
        <pc:spChg chg="mod">
          <ac:chgData name="Stina Ru" userId="a298bcda0a73aae4" providerId="LiveId" clId="{657B596C-D876-42C4-BC50-B91736D71345}" dt="2023-02-06T20:23:23.553" v="9804" actId="20577"/>
          <ac:spMkLst>
            <pc:docMk/>
            <pc:sldMk cId="4098112114" sldId="1283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20:23:30.844" v="9820" actId="20577"/>
          <ac:spMkLst>
            <pc:docMk/>
            <pc:sldMk cId="4098112114" sldId="1283"/>
            <ac:spMk id="3" creationId="{62E373E2-E479-4B85-B011-875D0EA60F4A}"/>
          </ac:spMkLst>
        </pc:spChg>
        <pc:graphicFrameChg chg="del">
          <ac:chgData name="Stina Ru" userId="a298bcda0a73aae4" providerId="LiveId" clId="{657B596C-D876-42C4-BC50-B91736D71345}" dt="2023-02-06T19:53:39.632" v="9793" actId="478"/>
          <ac:graphicFrameMkLst>
            <pc:docMk/>
            <pc:sldMk cId="4098112114" sldId="1283"/>
            <ac:graphicFrameMk id="6" creationId="{1A68394D-9856-487A-B4AD-227E8A61ECF9}"/>
          </ac:graphicFrameMkLst>
        </pc:graphicFrameChg>
      </pc:sldChg>
      <pc:sldChg chg="addSp delSp modSp add mod modAnim">
        <pc:chgData name="Stina Ru" userId="a298bcda0a73aae4" providerId="LiveId" clId="{657B596C-D876-42C4-BC50-B91736D71345}" dt="2023-02-06T22:19:56.467" v="12847" actId="208"/>
        <pc:sldMkLst>
          <pc:docMk/>
          <pc:sldMk cId="3468222283" sldId="1284"/>
        </pc:sldMkLst>
        <pc:spChg chg="mod">
          <ac:chgData name="Stina Ru" userId="a298bcda0a73aae4" providerId="LiveId" clId="{657B596C-D876-42C4-BC50-B91736D71345}" dt="2023-02-06T20:47:24.084" v="10644" actId="20577"/>
          <ac:spMkLst>
            <pc:docMk/>
            <pc:sldMk cId="3468222283" sldId="1284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22:19:04.426" v="12841" actId="20577"/>
          <ac:spMkLst>
            <pc:docMk/>
            <pc:sldMk cId="3468222283" sldId="1284"/>
            <ac:spMk id="3" creationId="{62E373E2-E479-4B85-B011-875D0EA60F4A}"/>
          </ac:spMkLst>
        </pc:spChg>
        <pc:graphicFrameChg chg="del">
          <ac:chgData name="Stina Ru" userId="a298bcda0a73aae4" providerId="LiveId" clId="{657B596C-D876-42C4-BC50-B91736D71345}" dt="2023-02-06T20:38:55.349" v="10242" actId="478"/>
          <ac:graphicFrameMkLst>
            <pc:docMk/>
            <pc:sldMk cId="3468222283" sldId="1284"/>
            <ac:graphicFrameMk id="6" creationId="{1A68394D-9856-487A-B4AD-227E8A61ECF9}"/>
          </ac:graphicFrameMkLst>
        </pc:graphicFrameChg>
        <pc:cxnChg chg="add mod">
          <ac:chgData name="Stina Ru" userId="a298bcda0a73aae4" providerId="LiveId" clId="{657B596C-D876-42C4-BC50-B91736D71345}" dt="2023-02-06T22:19:56.467" v="12847" actId="208"/>
          <ac:cxnSpMkLst>
            <pc:docMk/>
            <pc:sldMk cId="3468222283" sldId="1284"/>
            <ac:cxnSpMk id="8" creationId="{D76FA4F3-E229-FA33-3FCF-51330110F444}"/>
          </ac:cxnSpMkLst>
        </pc:cxnChg>
      </pc:sldChg>
      <pc:sldChg chg="modSp add mod modAnim">
        <pc:chgData name="Stina Ru" userId="a298bcda0a73aae4" providerId="LiveId" clId="{657B596C-D876-42C4-BC50-B91736D71345}" dt="2023-02-06T22:21:01.531" v="12849"/>
        <pc:sldMkLst>
          <pc:docMk/>
          <pc:sldMk cId="188156799" sldId="1285"/>
        </pc:sldMkLst>
        <pc:spChg chg="mod">
          <ac:chgData name="Stina Ru" userId="a298bcda0a73aae4" providerId="LiveId" clId="{657B596C-D876-42C4-BC50-B91736D71345}" dt="2023-02-06T20:47:31.226" v="10651" actId="20577"/>
          <ac:spMkLst>
            <pc:docMk/>
            <pc:sldMk cId="188156799" sldId="1285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20:52:42.953" v="11021" actId="207"/>
          <ac:spMkLst>
            <pc:docMk/>
            <pc:sldMk cId="188156799" sldId="1285"/>
            <ac:spMk id="3" creationId="{62E373E2-E479-4B85-B011-875D0EA60F4A}"/>
          </ac:spMkLst>
        </pc:spChg>
      </pc:sldChg>
      <pc:sldChg chg="modSp add mod">
        <pc:chgData name="Stina Ru" userId="a298bcda0a73aae4" providerId="LiveId" clId="{657B596C-D876-42C4-BC50-B91736D71345}" dt="2023-02-06T22:22:12.205" v="12851" actId="6549"/>
        <pc:sldMkLst>
          <pc:docMk/>
          <pc:sldMk cId="2892182785" sldId="1286"/>
        </pc:sldMkLst>
        <pc:spChg chg="mod">
          <ac:chgData name="Stina Ru" userId="a298bcda0a73aae4" providerId="LiveId" clId="{657B596C-D876-42C4-BC50-B91736D71345}" dt="2023-02-06T22:22:12.205" v="12851" actId="6549"/>
          <ac:spMkLst>
            <pc:docMk/>
            <pc:sldMk cId="2892182785" sldId="1286"/>
            <ac:spMk id="3" creationId="{62E373E2-E479-4B85-B011-875D0EA60F4A}"/>
          </ac:spMkLst>
        </pc:spChg>
      </pc:sldChg>
      <pc:sldChg chg="addSp delSp modSp add mod">
        <pc:chgData name="Stina Ru" userId="a298bcda0a73aae4" providerId="LiveId" clId="{657B596C-D876-42C4-BC50-B91736D71345}" dt="2023-02-06T21:18:41.786" v="12136" actId="255"/>
        <pc:sldMkLst>
          <pc:docMk/>
          <pc:sldMk cId="1153194391" sldId="1287"/>
        </pc:sldMkLst>
        <pc:spChg chg="mod">
          <ac:chgData name="Stina Ru" userId="a298bcda0a73aae4" providerId="LiveId" clId="{657B596C-D876-42C4-BC50-B91736D71345}" dt="2023-02-06T21:18:41.786" v="12136" actId="255"/>
          <ac:spMkLst>
            <pc:docMk/>
            <pc:sldMk cId="1153194391" sldId="1287"/>
            <ac:spMk id="2" creationId="{EC1BCC41-B6DA-44FF-9A35-BC5F1FD330FE}"/>
          </ac:spMkLst>
        </pc:spChg>
        <pc:spChg chg="del mod">
          <ac:chgData name="Stina Ru" userId="a298bcda0a73aae4" providerId="LiveId" clId="{657B596C-D876-42C4-BC50-B91736D71345}" dt="2023-02-06T20:54:38.847" v="11039" actId="478"/>
          <ac:spMkLst>
            <pc:docMk/>
            <pc:sldMk cId="1153194391" sldId="1287"/>
            <ac:spMk id="3" creationId="{0EBE899E-D4B3-37EB-C706-EE2BF648C3A7}"/>
          </ac:spMkLst>
        </pc:spChg>
        <pc:spChg chg="add del">
          <ac:chgData name="Stina Ru" userId="a298bcda0a73aae4" providerId="LiveId" clId="{657B596C-D876-42C4-BC50-B91736D71345}" dt="2023-02-06T20:54:42.052" v="11041" actId="22"/>
          <ac:spMkLst>
            <pc:docMk/>
            <pc:sldMk cId="1153194391" sldId="1287"/>
            <ac:spMk id="5" creationId="{D603D53C-5F1F-6FBF-77CA-03F8B22C870D}"/>
          </ac:spMkLst>
        </pc:spChg>
        <pc:spChg chg="add mod">
          <ac:chgData name="Stina Ru" userId="a298bcda0a73aae4" providerId="LiveId" clId="{657B596C-D876-42C4-BC50-B91736D71345}" dt="2023-02-06T20:57:29.680" v="11075" actId="1076"/>
          <ac:spMkLst>
            <pc:docMk/>
            <pc:sldMk cId="1153194391" sldId="1287"/>
            <ac:spMk id="7" creationId="{7A5583AA-B8C4-4108-372C-3D3E0B813703}"/>
          </ac:spMkLst>
        </pc:spChg>
      </pc:sldChg>
      <pc:sldChg chg="add del">
        <pc:chgData name="Stina Ru" userId="a298bcda0a73aae4" providerId="LiveId" clId="{657B596C-D876-42C4-BC50-B91736D71345}" dt="2023-02-06T20:55:35.194" v="11052" actId="47"/>
        <pc:sldMkLst>
          <pc:docMk/>
          <pc:sldMk cId="860536487" sldId="1288"/>
        </pc:sldMkLst>
      </pc:sldChg>
      <pc:sldChg chg="modSp add mod">
        <pc:chgData name="Stina Ru" userId="a298bcda0a73aae4" providerId="LiveId" clId="{657B596C-D876-42C4-BC50-B91736D71345}" dt="2023-02-06T21:18:53.949" v="12137" actId="255"/>
        <pc:sldMkLst>
          <pc:docMk/>
          <pc:sldMk cId="1081358588" sldId="1288"/>
        </pc:sldMkLst>
        <pc:spChg chg="mod">
          <ac:chgData name="Stina Ru" userId="a298bcda0a73aae4" providerId="LiveId" clId="{657B596C-D876-42C4-BC50-B91736D71345}" dt="2023-02-06T21:18:53.949" v="12137" actId="255"/>
          <ac:spMkLst>
            <pc:docMk/>
            <pc:sldMk cId="1081358588" sldId="1288"/>
            <ac:spMk id="2" creationId="{EC1BCC41-B6DA-44FF-9A35-BC5F1FD330FE}"/>
          </ac:spMkLst>
        </pc:spChg>
        <pc:spChg chg="mod">
          <ac:chgData name="Stina Ru" userId="a298bcda0a73aae4" providerId="LiveId" clId="{657B596C-D876-42C4-BC50-B91736D71345}" dt="2023-02-06T21:06:18.885" v="11662" actId="313"/>
          <ac:spMkLst>
            <pc:docMk/>
            <pc:sldMk cId="1081358588" sldId="1288"/>
            <ac:spMk id="3" creationId="{0EBE899E-D4B3-37EB-C706-EE2BF648C3A7}"/>
          </ac:spMkLst>
        </pc:spChg>
      </pc:sldChg>
      <pc:sldChg chg="add del">
        <pc:chgData name="Stina Ru" userId="a298bcda0a73aae4" providerId="LiveId" clId="{657B596C-D876-42C4-BC50-B91736D71345}" dt="2023-02-06T20:58:03.786" v="11077"/>
        <pc:sldMkLst>
          <pc:docMk/>
          <pc:sldMk cId="1170599741" sldId="1289"/>
        </pc:sldMkLst>
      </pc:sldChg>
      <pc:sldChg chg="addSp modSp add mod modAnim">
        <pc:chgData name="Stina Ru" userId="a298bcda0a73aae4" providerId="LiveId" clId="{657B596C-D876-42C4-BC50-B91736D71345}" dt="2023-02-06T22:27:39.281" v="12896" actId="20577"/>
        <pc:sldMkLst>
          <pc:docMk/>
          <pc:sldMk cId="3847557233" sldId="1289"/>
        </pc:sldMkLst>
        <pc:spChg chg="mod">
          <ac:chgData name="Stina Ru" userId="a298bcda0a73aae4" providerId="LiveId" clId="{657B596C-D876-42C4-BC50-B91736D71345}" dt="2023-02-06T20:58:13.999" v="11084" actId="20577"/>
          <ac:spMkLst>
            <pc:docMk/>
            <pc:sldMk cId="3847557233" sldId="1289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22:26:24.417" v="12879" actId="6549"/>
          <ac:spMkLst>
            <pc:docMk/>
            <pc:sldMk cId="3847557233" sldId="1289"/>
            <ac:spMk id="3" creationId="{62E373E2-E479-4B85-B011-875D0EA60F4A}"/>
          </ac:spMkLst>
        </pc:spChg>
        <pc:spChg chg="add mod">
          <ac:chgData name="Stina Ru" userId="a298bcda0a73aae4" providerId="LiveId" clId="{657B596C-D876-42C4-BC50-B91736D71345}" dt="2023-02-06T22:27:39.281" v="12896" actId="20577"/>
          <ac:spMkLst>
            <pc:docMk/>
            <pc:sldMk cId="3847557233" sldId="1289"/>
            <ac:spMk id="6" creationId="{18438174-594E-CCA5-97CD-5173ED49478F}"/>
          </ac:spMkLst>
        </pc:spChg>
      </pc:sldChg>
      <pc:sldChg chg="modSp add del mod">
        <pc:chgData name="Stina Ru" userId="a298bcda0a73aae4" providerId="LiveId" clId="{657B596C-D876-42C4-BC50-B91736D71345}" dt="2023-02-06T21:08:31.700" v="11710" actId="47"/>
        <pc:sldMkLst>
          <pc:docMk/>
          <pc:sldMk cId="2851356723" sldId="1290"/>
        </pc:sldMkLst>
        <pc:spChg chg="mod">
          <ac:chgData name="Stina Ru" userId="a298bcda0a73aae4" providerId="LiveId" clId="{657B596C-D876-42C4-BC50-B91736D71345}" dt="2023-02-06T21:07:56.944" v="11668" actId="20577"/>
          <ac:spMkLst>
            <pc:docMk/>
            <pc:sldMk cId="2851356723" sldId="1290"/>
            <ac:spMk id="2" creationId="{2E8E55A0-73B3-4565-BA58-ACE5F64229D6}"/>
          </ac:spMkLst>
        </pc:spChg>
        <pc:spChg chg="mod">
          <ac:chgData name="Stina Ru" userId="a298bcda0a73aae4" providerId="LiveId" clId="{657B596C-D876-42C4-BC50-B91736D71345}" dt="2023-02-06T21:08:15.780" v="11708" actId="20577"/>
          <ac:spMkLst>
            <pc:docMk/>
            <pc:sldMk cId="2851356723" sldId="1290"/>
            <ac:spMk id="3" creationId="{62E373E2-E479-4B85-B011-875D0EA60F4A}"/>
          </ac:spMkLst>
        </pc:spChg>
      </pc:sldChg>
      <pc:sldChg chg="modSp add mod modAnim">
        <pc:chgData name="Stina Ru" userId="a298bcda0a73aae4" providerId="LiveId" clId="{657B596C-D876-42C4-BC50-B91736D71345}" dt="2023-02-06T22:30:27.294" v="12922"/>
        <pc:sldMkLst>
          <pc:docMk/>
          <pc:sldMk cId="3879320207" sldId="1291"/>
        </pc:sldMkLst>
        <pc:spChg chg="mod">
          <ac:chgData name="Stina Ru" userId="a298bcda0a73aae4" providerId="LiveId" clId="{657B596C-D876-42C4-BC50-B91736D71345}" dt="2023-02-06T22:29:25.436" v="12900" actId="113"/>
          <ac:spMkLst>
            <pc:docMk/>
            <pc:sldMk cId="3879320207" sldId="1291"/>
            <ac:spMk id="3" creationId="{62E373E2-E479-4B85-B011-875D0EA60F4A}"/>
          </ac:spMkLst>
        </pc:spChg>
      </pc:sldChg>
      <pc:sldChg chg="modSp add mod">
        <pc:chgData name="Stina Ru" userId="a298bcda0a73aae4" providerId="LiveId" clId="{657B596C-D876-42C4-BC50-B91736D71345}" dt="2023-02-06T22:31:46.853" v="13052" actId="20577"/>
        <pc:sldMkLst>
          <pc:docMk/>
          <pc:sldMk cId="3945042515" sldId="1292"/>
        </pc:sldMkLst>
        <pc:spChg chg="mod">
          <ac:chgData name="Stina Ru" userId="a298bcda0a73aae4" providerId="LiveId" clId="{657B596C-D876-42C4-BC50-B91736D71345}" dt="2023-02-06T22:31:38.743" v="13042" actId="1076"/>
          <ac:spMkLst>
            <pc:docMk/>
            <pc:sldMk cId="3945042515" sldId="1292"/>
            <ac:spMk id="3" creationId="{00000000-0000-0000-0000-000000000000}"/>
          </ac:spMkLst>
        </pc:spChg>
        <pc:spChg chg="mod">
          <ac:chgData name="Stina Ru" userId="a298bcda0a73aae4" providerId="LiveId" clId="{657B596C-D876-42C4-BC50-B91736D71345}" dt="2023-02-06T22:31:46.853" v="13052" actId="20577"/>
          <ac:spMkLst>
            <pc:docMk/>
            <pc:sldMk cId="3945042515" sldId="1292"/>
            <ac:spMk id="6" creationId="{14E70323-0BA9-6C13-AD8D-63849D67221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07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8"/>
            <a:ext cx="568325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53035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38694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71677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96847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93135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64768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A045E6-D734-4DB2-BEE5-DF972DD20CA2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7229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06141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15734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848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56852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85175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0508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495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42158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66827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2839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68477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15363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C1CBB-7296-4076-8515-B53F1FF8837C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2111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0681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7BD579-A1A2-4940-A121-8789AD2F8D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1CEDAD4-29D7-4F20-9EA7-021A04F896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5774A8-B238-4F61-8129-E44326F3C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190DA-5487-4B8D-9122-B96187AED220}" type="datetime1">
              <a:rPr lang="de-DE" smtClean="0"/>
              <a:t>07.02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6BD759B-50D1-4C74-816F-8CC349EAF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Birgit Apitzsch, Vorlesung Sozialstruktur und sozialer Wandel, SoSe 2022, Ruhr-Universität Boch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43BB10-7247-4509-87BC-66503B1B3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3AC245-C251-4781-9B20-BF964276309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5357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err="1"/>
              <a:t>Subline</a:t>
            </a:r>
            <a:r>
              <a:rPr lang="de-DE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2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68" r:id="rId18"/>
    <p:sldLayoutId id="2147483670" r:id="rId19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>
              <a:solidFill>
                <a:schemeClr val="tx2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4E70323-0BA9-6C13-AD8D-63849D67221F}"/>
              </a:ext>
            </a:extLst>
          </p:cNvPr>
          <p:cNvSpPr txBox="1">
            <a:spLocks/>
          </p:cNvSpPr>
          <p:nvPr/>
        </p:nvSpPr>
        <p:spPr>
          <a:xfrm>
            <a:off x="1116013" y="2571749"/>
            <a:ext cx="7872875" cy="996257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600" b="0" kern="1200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200" dirty="0"/>
              <a:t>Tutorium zur VL. Sitzung (Klausurtutorium)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2011" y="278476"/>
            <a:ext cx="8365523" cy="1790700"/>
          </a:xfrm>
        </p:spPr>
        <p:txBody>
          <a:bodyPr>
            <a:noAutofit/>
          </a:bodyPr>
          <a:lstStyle/>
          <a:p>
            <a:r>
              <a:rPr lang="de-DE" sz="2800" b="1" i="1" dirty="0"/>
              <a:t>3) Ungleichheit(en) und Differenz: Gleich, ungleich oder anders?</a:t>
            </a:r>
            <a:endParaRPr lang="de-DE" sz="3300" b="1" i="1" dirty="0">
              <a:solidFill>
                <a:srgbClr val="00206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6" y="2419350"/>
            <a:ext cx="76761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</a:t>
            </a:r>
            <a:r>
              <a:rPr lang="de-DE" sz="2000" b="1" dirty="0">
                <a:solidFill>
                  <a:schemeClr val="tx2"/>
                </a:solidFill>
              </a:rPr>
              <a:t>Definitionen</a:t>
            </a:r>
            <a:r>
              <a:rPr lang="de-DE" sz="2000" dirty="0">
                <a:solidFill>
                  <a:schemeClr val="tx2"/>
                </a:solidFill>
              </a:rPr>
              <a:t> von </a:t>
            </a:r>
            <a:r>
              <a:rPr lang="de-DE" sz="2000" b="1" dirty="0">
                <a:solidFill>
                  <a:schemeClr val="tx2"/>
                </a:solidFill>
              </a:rPr>
              <a:t>'Gleichheit</a:t>
            </a:r>
            <a:r>
              <a:rPr lang="de-DE" sz="2000" dirty="0">
                <a:solidFill>
                  <a:schemeClr val="tx2"/>
                </a:solidFill>
              </a:rPr>
              <a:t>‘ und ‘</a:t>
            </a:r>
            <a:r>
              <a:rPr lang="de-DE" sz="2000" b="1" dirty="0">
                <a:solidFill>
                  <a:schemeClr val="tx2"/>
                </a:solidFill>
              </a:rPr>
              <a:t>sozialer Ungleichheit'. 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wissen um die Bedeutung </a:t>
            </a:r>
            <a:r>
              <a:rPr lang="de-DE" sz="2000" b="1" dirty="0">
                <a:solidFill>
                  <a:schemeClr val="tx2"/>
                </a:solidFill>
              </a:rPr>
              <a:t>zentraler sozialer Bewegungen </a:t>
            </a:r>
            <a:r>
              <a:rPr lang="de-DE" sz="2000" dirty="0">
                <a:solidFill>
                  <a:schemeClr val="tx2"/>
                </a:solidFill>
              </a:rPr>
              <a:t>für die Thematisierung und </a:t>
            </a:r>
            <a:r>
              <a:rPr lang="de-DE" sz="2000" b="1" dirty="0">
                <a:solidFill>
                  <a:schemeClr val="tx2"/>
                </a:solidFill>
              </a:rPr>
              <a:t>Kritik</a:t>
            </a:r>
            <a:r>
              <a:rPr lang="de-DE" sz="2000" dirty="0">
                <a:solidFill>
                  <a:schemeClr val="tx2"/>
                </a:solidFill>
              </a:rPr>
              <a:t> von Herrschaftsformen</a:t>
            </a:r>
          </a:p>
        </p:txBody>
      </p:sp>
    </p:spTree>
    <p:extLst>
      <p:ext uri="{BB962C8B-B14F-4D97-AF65-F5344CB8AC3E}">
        <p14:creationId xmlns:p14="http://schemas.microsoft.com/office/powerpoint/2010/main" val="20092011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09733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Gleichheit vs. soziale Ungleichheit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927015"/>
            <a:ext cx="8208456" cy="347270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Gleichheit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i="1" dirty="0"/>
              <a:t>=  „</a:t>
            </a:r>
            <a:r>
              <a:rPr lang="de-DE" sz="1800" b="0" dirty="0"/>
              <a:t>das demokratische Grundprinzip, dass </a:t>
            </a:r>
            <a:r>
              <a:rPr lang="de-DE" sz="1800" dirty="0"/>
              <a:t>alle Menschen vor dem Gesetz gleich </a:t>
            </a:r>
            <a:r>
              <a:rPr lang="de-DE" sz="1800" b="0" dirty="0"/>
              <a:t>sind“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Soziale Ungleichheit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 = wenn </a:t>
            </a:r>
            <a:r>
              <a:rPr lang="de-DE" sz="1800" dirty="0"/>
              <a:t>Menschen</a:t>
            </a:r>
            <a:r>
              <a:rPr lang="de-DE" sz="1800" b="0" dirty="0"/>
              <a:t> </a:t>
            </a:r>
            <a:r>
              <a:rPr lang="de-DE" sz="1800" dirty="0"/>
              <a:t>aufgrund ihrer Stellung </a:t>
            </a:r>
            <a:r>
              <a:rPr lang="de-DE" sz="1800" b="0" dirty="0"/>
              <a:t>in sozialen Beziehungsgefügen </a:t>
            </a:r>
            <a:r>
              <a:rPr lang="de-DE" sz="1800" dirty="0"/>
              <a:t>von den ‚wertvollen Gütern‘ einer Gesellschaft regelmäßig mehr </a:t>
            </a:r>
            <a:r>
              <a:rPr lang="de-DE" sz="1800" b="0" dirty="0"/>
              <a:t>als andere </a:t>
            </a:r>
            <a:r>
              <a:rPr lang="de-DE" sz="1800" dirty="0"/>
              <a:t>erhalten</a:t>
            </a:r>
            <a:r>
              <a:rPr lang="de-DE" sz="1800" b="0" dirty="0"/>
              <a:t>“ </a:t>
            </a:r>
            <a:r>
              <a:rPr lang="de-DE" sz="1100" b="0" dirty="0"/>
              <a:t>Hradil 2001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Zentrale </a:t>
            </a:r>
            <a:r>
              <a:rPr lang="de-DE" sz="1800" b="0" dirty="0">
                <a:solidFill>
                  <a:schemeClr val="accent2"/>
                </a:solidFill>
              </a:rPr>
              <a:t>soziale Bewegungen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Bürgerrechts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bewegungen (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Klassen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Frauen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bewegung (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Geschlecht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Arbeiter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bewegung (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Rassismus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1525154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/>
              <a:t>(4) Die ‚großen drei‘ Ungleichheiten I: Klasse</a:t>
            </a:r>
            <a:endParaRPr lang="de-DE" sz="3300" b="1" i="1" dirty="0">
              <a:solidFill>
                <a:srgbClr val="00206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6" y="2251710"/>
            <a:ext cx="76761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die </a:t>
            </a:r>
            <a:r>
              <a:rPr lang="de-DE" sz="2000" b="1" dirty="0">
                <a:solidFill>
                  <a:schemeClr val="tx2"/>
                </a:solidFill>
              </a:rPr>
              <a:t>zentralen Begriffe </a:t>
            </a:r>
            <a:r>
              <a:rPr lang="de-DE" sz="2000" dirty="0">
                <a:solidFill>
                  <a:schemeClr val="tx2"/>
                </a:solidFill>
              </a:rPr>
              <a:t>der deutschsprachigen Forschung zu sozialer Ungleichheit: </a:t>
            </a:r>
            <a:r>
              <a:rPr lang="de-DE" sz="2000" b="1" dirty="0">
                <a:solidFill>
                  <a:schemeClr val="tx2"/>
                </a:solidFill>
              </a:rPr>
              <a:t>'Klasse</a:t>
            </a:r>
            <a:r>
              <a:rPr lang="de-DE" sz="2000" dirty="0">
                <a:solidFill>
                  <a:schemeClr val="tx2"/>
                </a:solidFill>
              </a:rPr>
              <a:t>', </a:t>
            </a:r>
            <a:r>
              <a:rPr lang="de-DE" sz="2000" b="1" dirty="0">
                <a:solidFill>
                  <a:schemeClr val="tx2"/>
                </a:solidFill>
              </a:rPr>
              <a:t>'Schicht</a:t>
            </a:r>
            <a:r>
              <a:rPr lang="de-DE" sz="2000" dirty="0">
                <a:solidFill>
                  <a:schemeClr val="tx2"/>
                </a:solidFill>
              </a:rPr>
              <a:t>‘, ‘</a:t>
            </a:r>
            <a:r>
              <a:rPr lang="de-DE" sz="2000" b="1" dirty="0">
                <a:solidFill>
                  <a:schemeClr val="tx2"/>
                </a:solidFill>
              </a:rPr>
              <a:t>Milieu</a:t>
            </a:r>
            <a:r>
              <a:rPr lang="de-DE" sz="2000" dirty="0">
                <a:solidFill>
                  <a:schemeClr val="tx2"/>
                </a:solidFill>
              </a:rPr>
              <a:t>‘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wissen, warum in der neueren Ungleichheitssoziologie zwischen </a:t>
            </a:r>
            <a:r>
              <a:rPr lang="de-DE" sz="2000" b="1" dirty="0">
                <a:solidFill>
                  <a:schemeClr val="tx2"/>
                </a:solidFill>
              </a:rPr>
              <a:t>vertikaler und horizontaler Ungleichheit </a:t>
            </a:r>
            <a:r>
              <a:rPr lang="de-DE" sz="2000" dirty="0">
                <a:solidFill>
                  <a:schemeClr val="tx2"/>
                </a:solidFill>
              </a:rPr>
              <a:t>differenziert wird. </a:t>
            </a:r>
          </a:p>
        </p:txBody>
      </p:sp>
    </p:spTree>
    <p:extLst>
      <p:ext uri="{BB962C8B-B14F-4D97-AF65-F5344CB8AC3E}">
        <p14:creationId xmlns:p14="http://schemas.microsoft.com/office/powerpoint/2010/main" val="11495594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246960"/>
            <a:ext cx="7560000" cy="468000"/>
          </a:xfrm>
        </p:spPr>
        <p:txBody>
          <a:bodyPr/>
          <a:lstStyle/>
          <a:p>
            <a:r>
              <a:rPr lang="de-DE" b="1" dirty="0"/>
              <a:t>Klassenbegriff </a:t>
            </a:r>
            <a:r>
              <a:rPr lang="de-DE" dirty="0"/>
              <a:t>(Marx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14960"/>
            <a:ext cx="8244000" cy="4462062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rgbClr val="222222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de-DE" sz="1800" b="0" dirty="0"/>
              <a:t>Verortet Frühindustrielle Gesellschaft (Abgrenzung Ständegesellschaf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Ausgangspunkt: Klasseneinteilung 1) </a:t>
            </a:r>
            <a:r>
              <a:rPr lang="de-DE" sz="1800" dirty="0"/>
              <a:t>Proletariat</a:t>
            </a:r>
            <a:r>
              <a:rPr lang="de-DE" sz="1800" b="0" dirty="0"/>
              <a:t> ( KEINE Produktionsmittel) vs. 2) </a:t>
            </a:r>
            <a:r>
              <a:rPr lang="de-DE" sz="1800" dirty="0"/>
              <a:t>Bourgeoisie</a:t>
            </a:r>
            <a:r>
              <a:rPr lang="de-DE" sz="1800" b="0" dirty="0"/>
              <a:t> (Produktionsmitte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Antagonistisch: Besitzende vs. nicht besitzende Gruppe </a:t>
            </a:r>
            <a:r>
              <a:rPr lang="de-DE" sz="1800" b="0" dirty="0">
                <a:sym typeface="Wingdings" panose="05000000000000000000" pitchFamily="2" charset="2"/>
              </a:rPr>
              <a:t> Asymmetrische Beziehung</a:t>
            </a: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olidFill>
                  <a:srgbClr val="222222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de-DE" sz="1800" b="0" dirty="0">
                <a:solidFill>
                  <a:schemeClr val="accent2"/>
                </a:solidFill>
              </a:rPr>
              <a:t>„Klasse an sich“ </a:t>
            </a: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Zwei Gruppen, aber einseitige Abhängigkeit (Proletariat MUSS Arbeitskraft anbieten)</a:t>
            </a:r>
          </a:p>
          <a:p>
            <a:r>
              <a:rPr lang="de-DE" sz="1800" b="0" dirty="0">
                <a:solidFill>
                  <a:schemeClr val="accent2"/>
                </a:solidFill>
              </a:rPr>
              <a:t>„Klasse für sich“</a:t>
            </a:r>
            <a:endParaRPr lang="de-DE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Abgrenzend</a:t>
            </a:r>
            <a:r>
              <a:rPr lang="de-DE" sz="1800" b="0" dirty="0"/>
              <a:t> zur anderen Klasse </a:t>
            </a:r>
            <a:r>
              <a:rPr lang="de-DE" sz="1800" b="0" dirty="0">
                <a:sym typeface="Wingdings" panose="05000000000000000000" pitchFamily="2" charset="2"/>
              </a:rPr>
              <a:t> eigenes „</a:t>
            </a:r>
            <a:r>
              <a:rPr lang="de-DE" sz="1800" dirty="0">
                <a:sym typeface="Wingdings" panose="05000000000000000000" pitchFamily="2" charset="2"/>
              </a:rPr>
              <a:t>Klassenbewusstsein</a:t>
            </a:r>
            <a:r>
              <a:rPr lang="de-DE" sz="1800" b="0" dirty="0">
                <a:sym typeface="Wingdings" panose="05000000000000000000" pitchFamily="2" charset="2"/>
              </a:rPr>
              <a:t>“</a:t>
            </a:r>
            <a:endParaRPr lang="de-DE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/>
              <a:t>Unüberbrückbare Klassengegensätze (prognostiziert </a:t>
            </a:r>
            <a:r>
              <a:rPr lang="de-DE" sz="1800" dirty="0"/>
              <a:t>Klassenkampf</a:t>
            </a:r>
            <a:r>
              <a:rPr lang="de-DE" sz="1800" b="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3</a:t>
            </a:fld>
            <a:r>
              <a:rPr lang="de-DE"/>
              <a:t>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C5BA93B-EE8C-8E87-59E6-439981DB4863}"/>
              </a:ext>
            </a:extLst>
          </p:cNvPr>
          <p:cNvSpPr txBox="1"/>
          <p:nvPr/>
        </p:nvSpPr>
        <p:spPr>
          <a:xfrm>
            <a:off x="2244436" y="2271814"/>
            <a:ext cx="5624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0" dirty="0">
                <a:solidFill>
                  <a:schemeClr val="tx2"/>
                </a:solidFill>
              </a:rPr>
              <a:t>= analytische </a:t>
            </a:r>
            <a:r>
              <a:rPr lang="de-DE" sz="1800" b="1" dirty="0">
                <a:solidFill>
                  <a:schemeClr val="tx2"/>
                </a:solidFill>
              </a:rPr>
              <a:t>Beschreibung von auße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EBDFD6D-E2FF-B818-6D96-E9F6BD6264BE}"/>
              </a:ext>
            </a:extLst>
          </p:cNvPr>
          <p:cNvSpPr txBox="1"/>
          <p:nvPr/>
        </p:nvSpPr>
        <p:spPr>
          <a:xfrm>
            <a:off x="2244435" y="3327241"/>
            <a:ext cx="56249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0" dirty="0">
                <a:solidFill>
                  <a:schemeClr val="tx2"/>
                </a:solidFill>
              </a:rPr>
              <a:t>= </a:t>
            </a:r>
            <a:r>
              <a:rPr lang="de-DE" sz="1800" b="1" dirty="0">
                <a:solidFill>
                  <a:schemeClr val="tx2"/>
                </a:solidFill>
              </a:rPr>
              <a:t>gemeinsame Empfindungen </a:t>
            </a:r>
            <a:r>
              <a:rPr lang="de-DE" sz="1800" b="0" dirty="0">
                <a:solidFill>
                  <a:schemeClr val="tx2"/>
                </a:solidFill>
              </a:rPr>
              <a:t>der jeweiligen Klasse</a:t>
            </a:r>
          </a:p>
        </p:txBody>
      </p:sp>
    </p:spTree>
    <p:extLst>
      <p:ext uri="{BB962C8B-B14F-4D97-AF65-F5344CB8AC3E}">
        <p14:creationId xmlns:p14="http://schemas.microsoft.com/office/powerpoint/2010/main" val="762852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4B9166DC-F645-4E5E-B976-7477B34BAC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7905" y="460525"/>
            <a:ext cx="5436096" cy="312971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314534"/>
            <a:ext cx="7560000" cy="468000"/>
          </a:xfrm>
        </p:spPr>
        <p:txBody>
          <a:bodyPr/>
          <a:lstStyle/>
          <a:p>
            <a:r>
              <a:rPr lang="de-DE" b="1" dirty="0"/>
              <a:t>Schichtbegriff </a:t>
            </a:r>
            <a:r>
              <a:rPr lang="de-DE" dirty="0"/>
              <a:t>(Bolte-Zwiebel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2025384"/>
            <a:ext cx="8604728" cy="2050241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Bundesdeutsche Gesellschaft </a:t>
            </a:r>
            <a:r>
              <a:rPr lang="de-DE" sz="1800" dirty="0"/>
              <a:t>1960e</a:t>
            </a:r>
            <a:r>
              <a:rPr lang="de-DE" sz="1800" b="0" dirty="0"/>
              <a:t>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Zentrales Schichtmodell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Einteilung in Ober-Mittel-Unterschich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accent2"/>
                </a:solidFill>
              </a:rPr>
              <a:t>Mittelschicht</a:t>
            </a:r>
            <a:r>
              <a:rPr lang="de-DE" sz="1800" b="0" dirty="0"/>
              <a:t> als quantitativ </a:t>
            </a:r>
            <a:r>
              <a:rPr lang="de-DE" sz="1800" dirty="0"/>
              <a:t>dominante Grupp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Aufstiegschancen &amp; </a:t>
            </a:r>
            <a:r>
              <a:rPr lang="de-DE" sz="1800" dirty="0"/>
              <a:t>Mobilitätschancen</a:t>
            </a:r>
            <a:r>
              <a:rPr lang="de-DE" sz="1800" b="0" dirty="0"/>
              <a:t> ins „Benachbarte“ (</a:t>
            </a:r>
            <a:r>
              <a:rPr lang="de-DE" sz="1800" dirty="0"/>
              <a:t>Striche</a:t>
            </a:r>
            <a:r>
              <a:rPr lang="de-DE" sz="1800" b="0" dirty="0"/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Unterste und oberste Schichten hermetisch </a:t>
            </a:r>
            <a:r>
              <a:rPr lang="de-DE" sz="1800" dirty="0"/>
              <a:t>abgeschlossen</a:t>
            </a:r>
            <a:r>
              <a:rPr lang="de-DE" sz="1800" b="0" dirty="0"/>
              <a:t> (</a:t>
            </a:r>
            <a:r>
              <a:rPr lang="de-DE" sz="1800" dirty="0"/>
              <a:t>Punkte</a:t>
            </a:r>
            <a:r>
              <a:rPr lang="de-DE" sz="1800" b="0" dirty="0"/>
              <a:t>)</a:t>
            </a:r>
          </a:p>
          <a:p>
            <a:pPr>
              <a:lnSpc>
                <a:spcPct val="150000"/>
              </a:lnSpc>
            </a:pP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4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268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Milieubegriff </a:t>
            </a:r>
            <a:r>
              <a:rPr lang="de-DE" dirty="0"/>
              <a:t>(Sinus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61683"/>
            <a:ext cx="7030080" cy="205024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dirty="0"/>
              <a:t>Milieus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i="1" dirty="0"/>
              <a:t>=  </a:t>
            </a:r>
            <a:r>
              <a:rPr lang="de-DE" sz="1800" b="0" dirty="0"/>
              <a:t>„Gruppe </a:t>
            </a:r>
            <a:r>
              <a:rPr lang="de-DE" sz="1800" dirty="0"/>
              <a:t>Gleichgesinnter</a:t>
            </a:r>
            <a:r>
              <a:rPr lang="de-DE" sz="1800" b="0" dirty="0"/>
              <a:t>, die </a:t>
            </a:r>
            <a:r>
              <a:rPr lang="de-DE" sz="1800" dirty="0"/>
              <a:t>ähnliche Werthaltungen, Lebensführungen, Beziehungen </a:t>
            </a:r>
            <a:r>
              <a:rPr lang="de-DE" sz="1800" b="0" dirty="0"/>
              <a:t>zu Mitmenschen aufweisen. Haben oft gemeinsames Umfeld, sehen Dinge ähnlich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Kombi aus </a:t>
            </a:r>
            <a:r>
              <a:rPr lang="de-DE" sz="1800" dirty="0"/>
              <a:t>subjektiver Werthaltungen                                                            + ökonomische Merkmale</a:t>
            </a:r>
          </a:p>
          <a:p>
            <a:pPr>
              <a:lnSpc>
                <a:spcPct val="150000"/>
              </a:lnSpc>
            </a:pPr>
            <a:endParaRPr lang="de-DE" sz="1800" b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5</a:t>
            </a:fld>
            <a:r>
              <a:rPr lang="de-DE"/>
              <a:t> 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836E2EC-A522-F70F-7F4F-D6E39008FB29}"/>
              </a:ext>
            </a:extLst>
          </p:cNvPr>
          <p:cNvSpPr txBox="1">
            <a:spLocks/>
          </p:cNvSpPr>
          <p:nvPr/>
        </p:nvSpPr>
        <p:spPr>
          <a:xfrm>
            <a:off x="450000" y="3207289"/>
            <a:ext cx="7560000" cy="20502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+mj-lt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9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Unterschiede</a:t>
            </a:r>
            <a:r>
              <a:rPr lang="de-DE" sz="1800" b="0" dirty="0"/>
              <a:t> </a:t>
            </a:r>
            <a:r>
              <a:rPr lang="de-DE" sz="1800" b="0" dirty="0">
                <a:solidFill>
                  <a:schemeClr val="accent2"/>
                </a:solidFill>
              </a:rPr>
              <a:t>Klasse- Schicht- Milieus </a:t>
            </a:r>
          </a:p>
          <a:p>
            <a:pPr marL="285750" indent="-285750">
              <a:lnSpc>
                <a:spcPct val="1000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Einteilung der Bevölkerung? </a:t>
            </a:r>
          </a:p>
          <a:p>
            <a:pPr marL="285750" indent="-285750">
              <a:lnSpc>
                <a:spcPct val="1000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Vertikale und horizontale Merkmale?</a:t>
            </a:r>
          </a:p>
          <a:p>
            <a:pPr>
              <a:lnSpc>
                <a:spcPct val="150000"/>
              </a:lnSpc>
            </a:pPr>
            <a:endParaRPr lang="de-DE" sz="1800" b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616286F-0498-859E-E498-6A187F2DB9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5964" y="1966011"/>
            <a:ext cx="4378036" cy="2638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728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162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Neuere Modelle: Sozialer Raum 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6</a:t>
            </a:fld>
            <a:r>
              <a:rPr lang="de-DE" sz="700"/>
              <a:t>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38ACF7-9180-449A-B954-AE44592CA2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630000"/>
            <a:ext cx="8496488" cy="367656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Pierre </a:t>
            </a:r>
            <a:r>
              <a:rPr lang="de-DE" sz="1800" b="0" dirty="0">
                <a:highlight>
                  <a:srgbClr val="FFFF00"/>
                </a:highlight>
              </a:rPr>
              <a:t>Bourdieu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betrachtet vertikale UND horizontale Ungleichheiten</a:t>
            </a:r>
          </a:p>
          <a:p>
            <a:pPr marL="285750" indent="-285750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Verortung des Menschen im</a:t>
            </a:r>
          </a:p>
          <a:p>
            <a:pPr marL="285750" indent="-285750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Betitelt </a:t>
            </a:r>
            <a:r>
              <a:rPr lang="de-DE" sz="1800" dirty="0"/>
              <a:t>4 Kapitalarten </a:t>
            </a:r>
            <a:endParaRPr lang="de-DE" sz="1800" b="0" dirty="0"/>
          </a:p>
          <a:p>
            <a:pPr marL="285750" indent="-285750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(</a:t>
            </a:r>
            <a:r>
              <a:rPr lang="de-DE" sz="1800" dirty="0"/>
              <a:t>Summe</a:t>
            </a:r>
            <a:r>
              <a:rPr lang="de-DE" sz="1800" b="0" dirty="0"/>
              <a:t> &amp; und </a:t>
            </a:r>
            <a:r>
              <a:rPr lang="de-DE" sz="1800" dirty="0"/>
              <a:t>Struktur </a:t>
            </a:r>
            <a:r>
              <a:rPr lang="de-DE" sz="1800" b="0" dirty="0"/>
              <a:t>des </a:t>
            </a:r>
            <a:r>
              <a:rPr lang="de-DE" sz="1800" dirty="0"/>
              <a:t>vorhandenen Kapitals</a:t>
            </a:r>
            <a:endParaRPr lang="de-DE" sz="1800" b="0" i="1" dirty="0"/>
          </a:p>
          <a:p>
            <a:endParaRPr lang="de-DE" sz="1800" b="0" dirty="0"/>
          </a:p>
          <a:p>
            <a:endParaRPr lang="de-DE" sz="1800" b="0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B626CC5C-29B9-4A82-9168-EBE21AC7C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623599"/>
              </p:ext>
            </p:extLst>
          </p:nvPr>
        </p:nvGraphicFramePr>
        <p:xfrm>
          <a:off x="3667449" y="1406400"/>
          <a:ext cx="1655956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956">
                  <a:extLst>
                    <a:ext uri="{9D8B030D-6E8A-4147-A177-3AD203B41FA5}">
                      <a16:colId xmlns:a16="http://schemas.microsoft.com/office/drawing/2014/main" val="39648450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SOZIALER RA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3505397"/>
                  </a:ext>
                </a:extLst>
              </a:tr>
            </a:tbl>
          </a:graphicData>
        </a:graphic>
      </p:graphicFrame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850818C6-E3A2-C65E-5BBA-4E41D2809A05}"/>
              </a:ext>
            </a:extLst>
          </p:cNvPr>
          <p:cNvCxnSpPr>
            <a:cxnSpLocks/>
            <a:stCxn id="7" idx="2"/>
          </p:cNvCxnSpPr>
          <p:nvPr/>
        </p:nvCxnSpPr>
        <p:spPr>
          <a:xfrm flipH="1">
            <a:off x="2283360" y="1777240"/>
            <a:ext cx="2212067" cy="642867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BBFEFBA-63E0-6E8E-3470-A0994CFC84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4696807"/>
              </p:ext>
            </p:extLst>
          </p:nvPr>
        </p:nvGraphicFramePr>
        <p:xfrm>
          <a:off x="880885" y="2468284"/>
          <a:ext cx="7382229" cy="21605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7492">
                  <a:extLst>
                    <a:ext uri="{9D8B030D-6E8A-4147-A177-3AD203B41FA5}">
                      <a16:colId xmlns:a16="http://schemas.microsoft.com/office/drawing/2014/main" val="3218693243"/>
                    </a:ext>
                  </a:extLst>
                </a:gridCol>
                <a:gridCol w="5614737">
                  <a:extLst>
                    <a:ext uri="{9D8B030D-6E8A-4147-A177-3AD203B41FA5}">
                      <a16:colId xmlns:a16="http://schemas.microsoft.com/office/drawing/2014/main" val="267748392"/>
                    </a:ext>
                  </a:extLst>
                </a:gridCol>
              </a:tblGrid>
              <a:tr h="247875">
                <a:tc>
                  <a:txBody>
                    <a:bodyPr/>
                    <a:lstStyle/>
                    <a:p>
                      <a:r>
                        <a:rPr lang="de-DE" sz="1200"/>
                        <a:t>Kapital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Beschreib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8048128"/>
                  </a:ext>
                </a:extLst>
              </a:tr>
              <a:tr h="269058">
                <a:tc>
                  <a:txBody>
                    <a:bodyPr/>
                    <a:lstStyle/>
                    <a:p>
                      <a:r>
                        <a:rPr lang="de-DE" sz="1200"/>
                        <a:t>Ökonomisch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/>
                        <a:t>Geld</a:t>
                      </a:r>
                      <a:r>
                        <a:rPr lang="de-DE" sz="1200" dirty="0"/>
                        <a:t> und </a:t>
                      </a:r>
                      <a:r>
                        <a:rPr lang="de-DE" sz="1200" b="1" dirty="0"/>
                        <a:t>Besit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7976629"/>
                  </a:ext>
                </a:extLst>
              </a:tr>
              <a:tr h="1013685">
                <a:tc>
                  <a:txBody>
                    <a:bodyPr/>
                    <a:lstStyle/>
                    <a:p>
                      <a:r>
                        <a:rPr lang="de-DE" sz="1200" dirty="0"/>
                        <a:t>Kulturell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de-DE" sz="1200" dirty="0"/>
                        <a:t>Inkorporiertes Kulturkapital = </a:t>
                      </a:r>
                      <a:r>
                        <a:rPr lang="de-DE" sz="1200" b="1" dirty="0"/>
                        <a:t>Bildung/ Wissen</a:t>
                      </a:r>
                    </a:p>
                    <a:p>
                      <a:pPr marL="0" indent="0">
                        <a:buNone/>
                      </a:pPr>
                      <a:endParaRPr lang="de-DE" sz="1200" dirty="0"/>
                    </a:p>
                    <a:p>
                      <a:r>
                        <a:rPr lang="de-DE" sz="1200" dirty="0"/>
                        <a:t>2. Objektiviertes Kulturkapital = (leicht übertragbare) </a:t>
                      </a:r>
                      <a:r>
                        <a:rPr lang="de-DE" sz="1200" b="1" dirty="0"/>
                        <a:t>kulturelle Güter</a:t>
                      </a:r>
                    </a:p>
                    <a:p>
                      <a:endParaRPr lang="de-DE" sz="1200" dirty="0"/>
                    </a:p>
                    <a:p>
                      <a:r>
                        <a:rPr lang="de-DE" sz="1200" dirty="0"/>
                        <a:t>3. Institutionalisiertes Kulturkapital = institutionell </a:t>
                      </a:r>
                      <a:r>
                        <a:rPr lang="de-DE" sz="1200" b="1" dirty="0"/>
                        <a:t>anerkannte Titel</a:t>
                      </a:r>
                      <a:r>
                        <a:rPr lang="de-DE" sz="1200" dirty="0"/>
                        <a:t>, Zertifik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2240518"/>
                  </a:ext>
                </a:extLst>
              </a:tr>
              <a:tr h="323928">
                <a:tc>
                  <a:txBody>
                    <a:bodyPr/>
                    <a:lstStyle/>
                    <a:p>
                      <a:r>
                        <a:rPr lang="de-DE" sz="1200"/>
                        <a:t>Sozial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Zugehörigkeit zu einer Gruppe / </a:t>
                      </a:r>
                      <a:r>
                        <a:rPr lang="de-DE" sz="1200" b="1" dirty="0"/>
                        <a:t>Beziehungen -</a:t>
                      </a:r>
                      <a:r>
                        <a:rPr lang="de-DE" sz="1200" dirty="0"/>
                        <a:t>Vitamin B, Netzwerk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1324163"/>
                  </a:ext>
                </a:extLst>
              </a:tr>
              <a:tr h="250258">
                <a:tc>
                  <a:txBody>
                    <a:bodyPr/>
                    <a:lstStyle/>
                    <a:p>
                      <a:r>
                        <a:rPr lang="de-DE" sz="1200"/>
                        <a:t>Symbolisches K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Prestige und </a:t>
                      </a:r>
                      <a:r>
                        <a:rPr lang="de-DE" sz="1200" b="1" dirty="0"/>
                        <a:t>Anseh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39835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5710997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/>
              <a:t>(5) Die ‚großen drei‘ Ungleichheiten I: </a:t>
            </a:r>
            <a:r>
              <a:rPr lang="de-DE" sz="2800" b="1" i="1" dirty="0">
                <a:solidFill>
                  <a:schemeClr val="accent2"/>
                </a:solidFill>
              </a:rPr>
              <a:t>Geschlecht</a:t>
            </a:r>
            <a:endParaRPr lang="de-DE" sz="3300" b="1" i="1" dirty="0">
              <a:solidFill>
                <a:schemeClr val="accent2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6" y="2251710"/>
            <a:ext cx="76761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die theoretische und empirische </a:t>
            </a:r>
            <a:r>
              <a:rPr lang="de-DE" sz="2000" b="1" dirty="0">
                <a:solidFill>
                  <a:schemeClr val="tx2"/>
                </a:solidFill>
              </a:rPr>
              <a:t>Relevanz</a:t>
            </a:r>
            <a:r>
              <a:rPr lang="de-DE" sz="2000" dirty="0">
                <a:solidFill>
                  <a:schemeClr val="tx2"/>
                </a:solidFill>
              </a:rPr>
              <a:t> von </a:t>
            </a:r>
            <a:r>
              <a:rPr lang="de-DE" sz="2000" b="1" dirty="0">
                <a:solidFill>
                  <a:schemeClr val="tx2"/>
                </a:solidFill>
              </a:rPr>
              <a:t>Geschlecht</a:t>
            </a:r>
            <a:r>
              <a:rPr lang="de-DE" sz="2000" dirty="0">
                <a:solidFill>
                  <a:schemeClr val="tx2"/>
                </a:solidFill>
              </a:rPr>
              <a:t> für die Ungleichheitssoziologie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können die </a:t>
            </a:r>
            <a:r>
              <a:rPr lang="de-DE" sz="2000" b="1" dirty="0">
                <a:solidFill>
                  <a:schemeClr val="tx2"/>
                </a:solidFill>
              </a:rPr>
              <a:t>Struktur- und </a:t>
            </a:r>
            <a:r>
              <a:rPr lang="de-DE" sz="2000" dirty="0">
                <a:solidFill>
                  <a:schemeClr val="tx2"/>
                </a:solidFill>
              </a:rPr>
              <a:t>die </a:t>
            </a:r>
            <a:r>
              <a:rPr lang="de-DE" sz="2000" b="1" dirty="0">
                <a:solidFill>
                  <a:schemeClr val="tx2"/>
                </a:solidFill>
              </a:rPr>
              <a:t>Prozesskategorie</a:t>
            </a:r>
            <a:r>
              <a:rPr lang="de-DE" sz="2000" dirty="0">
                <a:solidFill>
                  <a:schemeClr val="tx2"/>
                </a:solidFill>
              </a:rPr>
              <a:t> Geschlecht voneinander </a:t>
            </a:r>
            <a:r>
              <a:rPr lang="de-DE" sz="2000" b="1" dirty="0">
                <a:solidFill>
                  <a:schemeClr val="tx2"/>
                </a:solidFill>
              </a:rPr>
              <a:t>unterscheiden</a:t>
            </a:r>
            <a:r>
              <a:rPr lang="de-DE" sz="2000" dirty="0">
                <a:solidFill>
                  <a:schemeClr val="tx2"/>
                </a:solidFill>
              </a:rPr>
              <a:t> und wissen, welche </a:t>
            </a:r>
            <a:r>
              <a:rPr lang="de-DE" sz="2000" b="1" dirty="0">
                <a:solidFill>
                  <a:schemeClr val="tx2"/>
                </a:solidFill>
              </a:rPr>
              <a:t>Bedeutung</a:t>
            </a:r>
            <a:r>
              <a:rPr lang="de-DE" sz="2000" dirty="0">
                <a:solidFill>
                  <a:schemeClr val="tx2"/>
                </a:solidFill>
              </a:rPr>
              <a:t> beide für die Ungleichheitsforschung haben.</a:t>
            </a:r>
          </a:p>
        </p:txBody>
      </p:sp>
    </p:spTree>
    <p:extLst>
      <p:ext uri="{BB962C8B-B14F-4D97-AF65-F5344CB8AC3E}">
        <p14:creationId xmlns:p14="http://schemas.microsoft.com/office/powerpoint/2010/main" val="18565552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367364"/>
            <a:ext cx="7560000" cy="468000"/>
          </a:xfrm>
        </p:spPr>
        <p:txBody>
          <a:bodyPr/>
          <a:lstStyle/>
          <a:p>
            <a:r>
              <a:rPr lang="de-DE" b="1" dirty="0"/>
              <a:t>Geschlecht: 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61683"/>
            <a:ext cx="8130120" cy="325847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Ungleichheit</a:t>
            </a:r>
            <a:r>
              <a:rPr lang="de-DE" sz="1800" b="0" dirty="0">
                <a:sym typeface="Wingdings" panose="05000000000000000000" pitchFamily="2" charset="2"/>
              </a:rPr>
              <a:t> = Fokus auf </a:t>
            </a:r>
            <a:r>
              <a:rPr lang="de-DE" sz="1800" dirty="0">
                <a:sym typeface="Wingdings" panose="05000000000000000000" pitchFamily="2" charset="2"/>
              </a:rPr>
              <a:t>Erwerbssituation </a:t>
            </a:r>
            <a:r>
              <a:rPr lang="de-DE" sz="1800" b="0" dirty="0">
                <a:sym typeface="Wingdings" panose="05000000000000000000" pitchFamily="2" charset="2"/>
              </a:rPr>
              <a:t>(Männer, </a:t>
            </a:r>
            <a:r>
              <a:rPr lang="de-DE" sz="1800" b="0" strike="sngStrike" dirty="0">
                <a:sym typeface="Wingdings" panose="05000000000000000000" pitchFamily="2" charset="2"/>
              </a:rPr>
              <a:t>Frauen</a:t>
            </a:r>
            <a:r>
              <a:rPr lang="de-DE" sz="1800" b="0" dirty="0">
                <a:sym typeface="Wingdings" panose="05000000000000000000" pitchFamily="2" charset="2"/>
              </a:rPr>
              <a:t>)  Ausschlus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Frauen 1) </a:t>
            </a:r>
            <a:r>
              <a:rPr lang="de-DE" sz="1800" dirty="0">
                <a:sym typeface="Wingdings" panose="05000000000000000000" pitchFamily="2" charset="2"/>
              </a:rPr>
              <a:t>komplexer</a:t>
            </a:r>
            <a:r>
              <a:rPr lang="de-DE" sz="1800" b="0" dirty="0">
                <a:sym typeface="Wingdings" panose="05000000000000000000" pitchFamily="2" charset="2"/>
              </a:rPr>
              <a:t> 2) </a:t>
            </a:r>
            <a:r>
              <a:rPr lang="de-DE" sz="1800" dirty="0">
                <a:sym typeface="Wingdings" panose="05000000000000000000" pitchFamily="2" charset="2"/>
              </a:rPr>
              <a:t>diskontinuierliche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Fehlende Berücksichtigung von </a:t>
            </a:r>
            <a:r>
              <a:rPr lang="de-DE" sz="1800" dirty="0">
                <a:sym typeface="Wingdings" panose="05000000000000000000" pitchFamily="2" charset="2"/>
              </a:rPr>
              <a:t>Haus- und Sorgearbeit </a:t>
            </a: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endParaRPr lang="de-DE" sz="1800" b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8D372CE-B16B-8873-8BD2-B609FA7F8A1B}"/>
              </a:ext>
            </a:extLst>
          </p:cNvPr>
          <p:cNvSpPr/>
          <p:nvPr/>
        </p:nvSpPr>
        <p:spPr>
          <a:xfrm>
            <a:off x="576000" y="2258331"/>
            <a:ext cx="3177269" cy="45073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) Geschlecht als </a:t>
            </a:r>
            <a:r>
              <a:rPr lang="de-DE" b="1" dirty="0"/>
              <a:t>Strukturkategorie</a:t>
            </a:r>
            <a:endParaRPr lang="de-DE" dirty="0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6869255-1FD9-2A6E-BDF5-1980D19AD6F0}"/>
              </a:ext>
            </a:extLst>
          </p:cNvPr>
          <p:cNvSpPr/>
          <p:nvPr/>
        </p:nvSpPr>
        <p:spPr>
          <a:xfrm>
            <a:off x="4515060" y="2255874"/>
            <a:ext cx="3177269" cy="45073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) Geschlecht als </a:t>
            </a:r>
            <a:r>
              <a:rPr lang="de-DE" b="1" dirty="0"/>
              <a:t>Prozesskategorie</a:t>
            </a:r>
            <a:endParaRPr lang="de-DE" dirty="0"/>
          </a:p>
        </p:txBody>
      </p:sp>
      <p:pic>
        <p:nvPicPr>
          <p:cNvPr id="10" name="Grafik 9" descr="Weiblich Silhouette">
            <a:extLst>
              <a:ext uri="{FF2B5EF4-FFF2-40B4-BE49-F238E27FC236}">
                <a16:creationId xmlns:a16="http://schemas.microsoft.com/office/drawing/2014/main" id="{D3DDF893-623C-165A-58D4-5E061B465E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4323" y="3173463"/>
            <a:ext cx="370625" cy="370625"/>
          </a:xfrm>
          <a:prstGeom prst="rect">
            <a:avLst/>
          </a:prstGeom>
        </p:spPr>
      </p:pic>
      <p:pic>
        <p:nvPicPr>
          <p:cNvPr id="11" name="Grafik 10" descr="Männlich Silhouette">
            <a:extLst>
              <a:ext uri="{FF2B5EF4-FFF2-40B4-BE49-F238E27FC236}">
                <a16:creationId xmlns:a16="http://schemas.microsoft.com/office/drawing/2014/main" id="{78FBEE47-8AB4-1F71-B461-FEB3FA5A3D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84897" y="3173921"/>
            <a:ext cx="370626" cy="370626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1D27EBEE-0242-1920-D6BF-F3F9AEF2285D}"/>
              </a:ext>
            </a:extLst>
          </p:cNvPr>
          <p:cNvSpPr txBox="1"/>
          <p:nvPr/>
        </p:nvSpPr>
        <p:spPr>
          <a:xfrm>
            <a:off x="324000" y="2932202"/>
            <a:ext cx="8732600" cy="140038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Geschlecht wirkt </a:t>
            </a:r>
            <a:r>
              <a:rPr lang="de-DE" sz="1700" dirty="0">
                <a:solidFill>
                  <a:schemeClr val="tx2"/>
                </a:solidFill>
                <a:sym typeface="Wingdings" panose="05000000000000000000" pitchFamily="2" charset="2"/>
              </a:rPr>
              <a:t>vertikale</a:t>
            </a: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(</a:t>
            </a:r>
            <a:r>
              <a:rPr lang="de-DE" sz="1700" b="1" dirty="0">
                <a:solidFill>
                  <a:schemeClr val="tx2"/>
                </a:solidFill>
                <a:sym typeface="Wingdings" panose="05000000000000000000" pitchFamily="2" charset="2"/>
              </a:rPr>
              <a:t>Unter-    und Überordnung     </a:t>
            </a: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dirty="0">
                <a:solidFill>
                  <a:schemeClr val="tx2"/>
                </a:solidFill>
                <a:sym typeface="Wingdings" panose="05000000000000000000" pitchFamily="2" charset="2"/>
              </a:rPr>
              <a:t>Reproduktion</a:t>
            </a: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 von Struktur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b="1" dirty="0">
                <a:solidFill>
                  <a:schemeClr val="tx2"/>
                </a:solidFill>
                <a:sym typeface="Wingdings" panose="05000000000000000000" pitchFamily="2" charset="2"/>
              </a:rPr>
              <a:t>Öffentlich   vs. Privat </a:t>
            </a: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dominant</a:t>
            </a:r>
          </a:p>
          <a:p>
            <a:pPr>
              <a:lnSpc>
                <a:spcPct val="100000"/>
              </a:lnSpc>
            </a:pP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(Arbeit&amp; Politik)  (Haus &amp; Sorgearbeit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Unterschiede </a:t>
            </a:r>
            <a:r>
              <a:rPr lang="de-DE" sz="1700" dirty="0">
                <a:solidFill>
                  <a:schemeClr val="tx2"/>
                </a:solidFill>
                <a:sym typeface="Wingdings" panose="05000000000000000000" pitchFamily="2" charset="2"/>
              </a:rPr>
              <a:t>biologisches &amp; soziales Geschlecht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Sozial (= Zuschreibung an Geschlecht</a:t>
            </a:r>
            <a:r>
              <a:rPr lang="de-DE" sz="1700" dirty="0">
                <a:solidFill>
                  <a:schemeClr val="tx2"/>
                </a:solidFill>
                <a:sym typeface="Wingdings" panose="05000000000000000000" pitchFamily="2" charset="2"/>
              </a:rPr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00" b="1" i="1" dirty="0" err="1">
                <a:solidFill>
                  <a:schemeClr val="tx2"/>
                </a:solidFill>
                <a:sym typeface="Wingdings" panose="05000000000000000000" pitchFamily="2" charset="2"/>
              </a:rPr>
              <a:t>Doing</a:t>
            </a:r>
            <a:r>
              <a:rPr lang="de-DE" sz="1700" b="1" i="1" dirty="0">
                <a:solidFill>
                  <a:schemeClr val="tx2"/>
                </a:solidFill>
                <a:sym typeface="Wingdings" panose="05000000000000000000" pitchFamily="2" charset="2"/>
              </a:rPr>
              <a:t> Gender </a:t>
            </a:r>
            <a:r>
              <a:rPr lang="de-DE" sz="1700" b="1" dirty="0">
                <a:solidFill>
                  <a:schemeClr val="tx2"/>
                </a:solidFill>
                <a:sym typeface="Wingdings" panose="05000000000000000000" pitchFamily="2" charset="2"/>
              </a:rPr>
              <a:t>im Alltag </a:t>
            </a:r>
            <a:r>
              <a:rPr lang="de-DE" sz="1700" b="0" dirty="0">
                <a:solidFill>
                  <a:schemeClr val="tx2"/>
                </a:solidFill>
                <a:sym typeface="Wingdings" panose="05000000000000000000" pitchFamily="2" charset="2"/>
              </a:rPr>
              <a:t>(„was ist typisch  weiblich?)</a:t>
            </a:r>
          </a:p>
        </p:txBody>
      </p:sp>
      <p:pic>
        <p:nvPicPr>
          <p:cNvPr id="15" name="Grafik 14" descr="Weiblich Silhouette">
            <a:extLst>
              <a:ext uri="{FF2B5EF4-FFF2-40B4-BE49-F238E27FC236}">
                <a16:creationId xmlns:a16="http://schemas.microsoft.com/office/drawing/2014/main" id="{81D881D3-10B6-2BDE-486B-BBB6E69C22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149" y="3670866"/>
            <a:ext cx="370625" cy="370625"/>
          </a:xfrm>
          <a:prstGeom prst="rect">
            <a:avLst/>
          </a:prstGeom>
        </p:spPr>
      </p:pic>
      <p:pic>
        <p:nvPicPr>
          <p:cNvPr id="16" name="Grafik 15" descr="Männlich Silhouette">
            <a:extLst>
              <a:ext uri="{FF2B5EF4-FFF2-40B4-BE49-F238E27FC236}">
                <a16:creationId xmlns:a16="http://schemas.microsoft.com/office/drawing/2014/main" id="{08BE6D47-1DDA-4BF1-432A-74CDA8AABB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39636" y="3696811"/>
            <a:ext cx="370626" cy="37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683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6) Die ‚großen drei‘ Ungleichheiten III: ‚</a:t>
            </a:r>
            <a:r>
              <a:rPr lang="de-DE" sz="2800" b="1" i="1" dirty="0">
                <a:solidFill>
                  <a:schemeClr val="accent2"/>
                </a:solidFill>
              </a:rPr>
              <a:t>Rasse</a:t>
            </a:r>
            <a:r>
              <a:rPr lang="de-DE" sz="2800" b="1" i="1" dirty="0">
                <a:solidFill>
                  <a:srgbClr val="002060"/>
                </a:solidFill>
              </a:rPr>
              <a:t>‘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6" y="2251710"/>
            <a:ext cx="76761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die theoretische und empirische </a:t>
            </a:r>
            <a:r>
              <a:rPr lang="de-DE" sz="2000" b="1" dirty="0">
                <a:solidFill>
                  <a:schemeClr val="tx2"/>
                </a:solidFill>
              </a:rPr>
              <a:t>Relevanz</a:t>
            </a:r>
            <a:r>
              <a:rPr lang="de-DE" sz="2000" dirty="0">
                <a:solidFill>
                  <a:schemeClr val="tx2"/>
                </a:solidFill>
              </a:rPr>
              <a:t> von ,</a:t>
            </a:r>
            <a:r>
              <a:rPr lang="de-DE" sz="2000" b="1" dirty="0">
                <a:solidFill>
                  <a:schemeClr val="tx2"/>
                </a:solidFill>
              </a:rPr>
              <a:t>Rasse</a:t>
            </a:r>
            <a:r>
              <a:rPr lang="de-DE" sz="2000" dirty="0">
                <a:solidFill>
                  <a:schemeClr val="tx2"/>
                </a:solidFill>
              </a:rPr>
              <a:t>‘ für die Ungleichheitssoziologie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wissen, </a:t>
            </a:r>
            <a:r>
              <a:rPr lang="de-DE" sz="2000" b="1" dirty="0">
                <a:solidFill>
                  <a:schemeClr val="tx2"/>
                </a:solidFill>
              </a:rPr>
              <a:t>warum</a:t>
            </a:r>
            <a:r>
              <a:rPr lang="de-DE" sz="2000" dirty="0">
                <a:solidFill>
                  <a:schemeClr val="tx2"/>
                </a:solidFill>
              </a:rPr>
              <a:t> die </a:t>
            </a:r>
            <a:r>
              <a:rPr lang="de-DE" sz="2000" b="1" dirty="0">
                <a:solidFill>
                  <a:schemeClr val="tx2"/>
                </a:solidFill>
              </a:rPr>
              <a:t>Strukturkategorie ,Rasse‘ problematisch</a:t>
            </a:r>
            <a:r>
              <a:rPr lang="de-DE" sz="2000" dirty="0">
                <a:solidFill>
                  <a:schemeClr val="tx2"/>
                </a:solidFill>
              </a:rPr>
              <a:t> ist und dennoch wirkmächtig im Denken, in sozialen Interaktionen und in der Sozialstruktur ist.</a:t>
            </a:r>
          </a:p>
        </p:txBody>
      </p:sp>
    </p:spTree>
    <p:extLst>
      <p:ext uri="{BB962C8B-B14F-4D97-AF65-F5344CB8AC3E}">
        <p14:creationId xmlns:p14="http://schemas.microsoft.com/office/powerpoint/2010/main" val="976590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rgbClr val="002060"/>
                </a:solidFill>
              </a:rPr>
              <a:t>Grundlegende Infos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1" y="832147"/>
            <a:ext cx="8393210" cy="4311353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002060"/>
                </a:solidFill>
              </a:rPr>
              <a:t>7 Fragen (Definitiv NUR 6 beantworten sonst Punktabzug!!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002060"/>
                </a:solidFill>
              </a:rPr>
              <a:t>60 Minuten Zeit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002060"/>
                </a:solidFill>
              </a:rPr>
              <a:t>Deutsch nicht als Muttersprache (Wörterbuch + 30 min mehr Zeit) </a:t>
            </a:r>
            <a:r>
              <a:rPr lang="de-DE" sz="1800" b="0" dirty="0">
                <a:solidFill>
                  <a:srgbClr val="002060"/>
                </a:solidFill>
                <a:sym typeface="Wingdings" panose="05000000000000000000" pitchFamily="2" charset="2"/>
              </a:rPr>
              <a:t> Antrag mit E-Mail an Herrn </a:t>
            </a:r>
            <a:r>
              <a:rPr lang="de-DE" sz="1800" b="0" dirty="0" err="1">
                <a:solidFill>
                  <a:srgbClr val="002060"/>
                </a:solidFill>
                <a:sym typeface="Wingdings" panose="05000000000000000000" pitchFamily="2" charset="2"/>
              </a:rPr>
              <a:t>Stefes</a:t>
            </a:r>
            <a:endParaRPr lang="de-DE" sz="1800" b="0" dirty="0">
              <a:solidFill>
                <a:srgbClr val="002060"/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002060"/>
                </a:solidFill>
                <a:sym typeface="Wingdings" panose="05000000000000000000" pitchFamily="2" charset="2"/>
              </a:rPr>
              <a:t>Fragen kurz &amp; knapp mit Fachbegriffen (Zeiteinteilung</a:t>
            </a:r>
            <a:r>
              <a:rPr lang="de-DE" sz="1800" b="0" dirty="0">
                <a:solidFill>
                  <a:schemeClr val="accent3"/>
                </a:solidFill>
                <a:sym typeface="Wingdings" panose="05000000000000000000" pitchFamily="2" charset="2"/>
              </a:rPr>
              <a:t>!</a:t>
            </a:r>
            <a:r>
              <a:rPr lang="de-DE" sz="1800" b="0" dirty="0">
                <a:solidFill>
                  <a:srgbClr val="002060"/>
                </a:solidFill>
                <a:sym typeface="Wingdings" panose="05000000000000000000" pitchFamily="2" charset="2"/>
              </a:rPr>
              <a:t>) 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olidFill>
                  <a:srgbClr val="002060"/>
                </a:solidFill>
                <a:sym typeface="Wingdings" panose="05000000000000000000" pitchFamily="2" charset="2"/>
              </a:rPr>
              <a:t> Grob 5-7 Sätze, bei längeren Fragen mehr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002060"/>
                </a:solidFill>
                <a:sym typeface="Wingdings" panose="05000000000000000000" pitchFamily="2" charset="2"/>
              </a:rPr>
              <a:t>Fast jeder Sitzungsblock vertreten in den Fragen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002060"/>
                </a:solidFill>
                <a:sym typeface="Wingdings" panose="05000000000000000000" pitchFamily="2" charset="2"/>
              </a:rPr>
              <a:t>Definitionen (eher sinngemäß)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dirty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1582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Rasse: 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64000"/>
            <a:ext cx="8130120" cy="325847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Rasse </a:t>
            </a:r>
            <a:r>
              <a:rPr lang="de-DE" sz="1800" b="0" dirty="0">
                <a:highlight>
                  <a:srgbClr val="FFFF00"/>
                </a:highlight>
                <a:sym typeface="Wingdings" panose="05000000000000000000" pitchFamily="2" charset="2"/>
              </a:rPr>
              <a:t>DEF</a:t>
            </a:r>
            <a:r>
              <a:rPr lang="de-DE" sz="1800" b="0" dirty="0">
                <a:sym typeface="Wingdings" panose="05000000000000000000" pitchFamily="2" charset="2"/>
              </a:rPr>
              <a:t> = ethnische Gruppe, die Zugehörigkeit durch </a:t>
            </a:r>
            <a:r>
              <a:rPr lang="de-DE" sz="1800" dirty="0">
                <a:sym typeface="Wingdings" panose="05000000000000000000" pitchFamily="2" charset="2"/>
              </a:rPr>
              <a:t>sozial definierte körperliche Merkmale </a:t>
            </a:r>
            <a:r>
              <a:rPr lang="de-DE" sz="1800" b="0" dirty="0">
                <a:sym typeface="Wingdings" panose="05000000000000000000" pitchFamily="2" charset="2"/>
              </a:rPr>
              <a:t>bestimmt (</a:t>
            </a:r>
            <a:r>
              <a:rPr lang="de-DE" sz="1800" b="0" i="1" dirty="0">
                <a:sym typeface="Wingdings" panose="05000000000000000000" pitchFamily="2" charset="2"/>
              </a:rPr>
              <a:t>z.B. Hautfarbe</a:t>
            </a:r>
            <a:r>
              <a:rPr lang="de-DE" sz="1800" b="0" dirty="0">
                <a:sym typeface="Wingdings" panose="05000000000000000000" pitchFamily="2" charset="2"/>
              </a:rPr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strike="sngStrike" dirty="0">
                <a:sym typeface="Wingdings" panose="05000000000000000000" pitchFamily="2" charset="2"/>
              </a:rPr>
              <a:t>natürliche Differenz</a:t>
            </a:r>
            <a:r>
              <a:rPr lang="de-DE" sz="1800" b="0" dirty="0">
                <a:sym typeface="Wingdings" panose="05000000000000000000" pitchFamily="2" charset="2"/>
              </a:rPr>
              <a:t>, sondern </a:t>
            </a:r>
            <a:r>
              <a:rPr lang="de-DE" sz="1800" dirty="0">
                <a:sym typeface="Wingdings" panose="05000000000000000000" pitchFamily="2" charset="2"/>
              </a:rPr>
              <a:t>soziale Konstruktion</a:t>
            </a: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 Folge: unterbewusste Denkstrukturen &amp; Urteile</a:t>
            </a: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endParaRPr lang="de-DE" sz="1800" b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0</a:t>
            </a:fld>
            <a:r>
              <a:rPr lang="de-DE"/>
              <a:t> </a:t>
            </a:r>
          </a:p>
        </p:txBody>
      </p:sp>
      <p:graphicFrame>
        <p:nvGraphicFramePr>
          <p:cNvPr id="6" name="Tabelle 9">
            <a:extLst>
              <a:ext uri="{FF2B5EF4-FFF2-40B4-BE49-F238E27FC236}">
                <a16:creationId xmlns:a16="http://schemas.microsoft.com/office/drawing/2014/main" id="{0562B959-9FE4-F986-CB5D-19263BE57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7778481"/>
              </p:ext>
            </p:extLst>
          </p:nvPr>
        </p:nvGraphicFramePr>
        <p:xfrm>
          <a:off x="576000" y="1957349"/>
          <a:ext cx="7578000" cy="18801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6709">
                  <a:extLst>
                    <a:ext uri="{9D8B030D-6E8A-4147-A177-3AD203B41FA5}">
                      <a16:colId xmlns:a16="http://schemas.microsoft.com/office/drawing/2014/main" val="4195743758"/>
                    </a:ext>
                  </a:extLst>
                </a:gridCol>
                <a:gridCol w="5541291">
                  <a:extLst>
                    <a:ext uri="{9D8B030D-6E8A-4147-A177-3AD203B41FA5}">
                      <a16:colId xmlns:a16="http://schemas.microsoft.com/office/drawing/2014/main" val="1678014831"/>
                    </a:ext>
                  </a:extLst>
                </a:gridCol>
              </a:tblGrid>
              <a:tr h="235260">
                <a:tc>
                  <a:txBody>
                    <a:bodyPr/>
                    <a:lstStyle/>
                    <a:p>
                      <a:r>
                        <a:rPr lang="de-DE" dirty="0"/>
                        <a:t>Phäno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Probl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4174232"/>
                  </a:ext>
                </a:extLst>
              </a:tr>
              <a:tr h="31939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426547"/>
                  </a:ext>
                </a:extLst>
              </a:tr>
              <a:tr h="525732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i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579252"/>
                  </a:ext>
                </a:extLst>
              </a:tr>
              <a:tr h="55435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4182397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0659F7F3-C1E7-F758-55BB-6FAA809D90AD}"/>
              </a:ext>
            </a:extLst>
          </p:cNvPr>
          <p:cNvSpPr txBox="1"/>
          <p:nvPr/>
        </p:nvSpPr>
        <p:spPr>
          <a:xfrm>
            <a:off x="576000" y="2239323"/>
            <a:ext cx="20148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) Menschen tendieren zu vereinfach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323D0CB-899B-FB6D-353E-551EF224BA9F}"/>
              </a:ext>
            </a:extLst>
          </p:cNvPr>
          <p:cNvSpPr txBox="1"/>
          <p:nvPr/>
        </p:nvSpPr>
        <p:spPr>
          <a:xfrm>
            <a:off x="576000" y="2784515"/>
            <a:ext cx="20148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) Reduzierung auf äußere Merkmal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7AE771E-EC7F-242B-C1A5-E6B51B421348}"/>
              </a:ext>
            </a:extLst>
          </p:cNvPr>
          <p:cNvSpPr txBox="1"/>
          <p:nvPr/>
        </p:nvSpPr>
        <p:spPr>
          <a:xfrm>
            <a:off x="576000" y="3353192"/>
            <a:ext cx="20148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3) Verfolgung von pol. und gesell. Interes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D92FD1-9770-9C6E-20BB-820356EB839B}"/>
              </a:ext>
            </a:extLst>
          </p:cNvPr>
          <p:cNvSpPr txBox="1"/>
          <p:nvPr/>
        </p:nvSpPr>
        <p:spPr>
          <a:xfrm>
            <a:off x="2658872" y="2287658"/>
            <a:ext cx="5311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ildung von vorstrukturierten Kategorien &amp; Pauschalisierungen</a:t>
            </a:r>
          </a:p>
          <a:p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6760351-40D6-B97C-7952-7EDDC9F3C1EE}"/>
              </a:ext>
            </a:extLst>
          </p:cNvPr>
          <p:cNvSpPr txBox="1"/>
          <p:nvPr/>
        </p:nvSpPr>
        <p:spPr>
          <a:xfrm>
            <a:off x="2658872" y="2683743"/>
            <a:ext cx="567905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eine Berücksichtigung von Übergäng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erbindung mit angeblichen Eigenschaften </a:t>
            </a:r>
            <a:r>
              <a:rPr lang="de-DE" i="1" dirty="0"/>
              <a:t>(starkes Temperament)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4EE2B6B-FA9D-6A26-2106-11113EEAE91F}"/>
              </a:ext>
            </a:extLst>
          </p:cNvPr>
          <p:cNvSpPr txBox="1"/>
          <p:nvPr/>
        </p:nvSpPr>
        <p:spPr>
          <a:xfrm>
            <a:off x="2658872" y="3283404"/>
            <a:ext cx="531120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nt zur Legitimierung von Abwer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oll Machtgefüge stärk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7828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  <p:bldP spid="11" grpId="0"/>
      <p:bldP spid="1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7) Intersektionalität als neues Paradigma der Ungleichheitsforschung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4" y="2099310"/>
            <a:ext cx="76761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wissen, was </a:t>
            </a:r>
            <a:r>
              <a:rPr lang="de-DE" sz="2000" b="1" dirty="0">
                <a:solidFill>
                  <a:schemeClr val="tx2"/>
                </a:solidFill>
              </a:rPr>
              <a:t>'Intersektionalität</a:t>
            </a:r>
            <a:r>
              <a:rPr lang="de-DE" sz="2000" dirty="0">
                <a:solidFill>
                  <a:schemeClr val="tx2"/>
                </a:solidFill>
              </a:rPr>
              <a:t>‘ </a:t>
            </a:r>
            <a:r>
              <a:rPr lang="de-DE" sz="2000" b="1" dirty="0">
                <a:solidFill>
                  <a:schemeClr val="tx2"/>
                </a:solidFill>
              </a:rPr>
              <a:t>ist</a:t>
            </a:r>
            <a:r>
              <a:rPr lang="de-DE" sz="2000" dirty="0">
                <a:solidFill>
                  <a:schemeClr val="tx2"/>
                </a:solidFill>
              </a:rPr>
              <a:t> und warum diese Perspektive eine </a:t>
            </a:r>
            <a:r>
              <a:rPr lang="de-DE" sz="2000" b="1" dirty="0">
                <a:solidFill>
                  <a:schemeClr val="tx2"/>
                </a:solidFill>
              </a:rPr>
              <a:t>Bereicherung</a:t>
            </a:r>
            <a:r>
              <a:rPr lang="de-DE" sz="2000" dirty="0">
                <a:solidFill>
                  <a:schemeClr val="tx2"/>
                </a:solidFill>
              </a:rPr>
              <a:t> für die </a:t>
            </a:r>
            <a:r>
              <a:rPr lang="de-DE" sz="2000" dirty="0" err="1">
                <a:solidFill>
                  <a:schemeClr val="tx2"/>
                </a:solidFill>
              </a:rPr>
              <a:t>Ungleichheitenforschung</a:t>
            </a:r>
            <a:r>
              <a:rPr lang="de-DE" sz="2000" dirty="0">
                <a:solidFill>
                  <a:schemeClr val="tx2"/>
                </a:solidFill>
              </a:rPr>
              <a:t> darstellt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kennen die </a:t>
            </a:r>
            <a:r>
              <a:rPr lang="de-DE" sz="2000" b="1" dirty="0">
                <a:solidFill>
                  <a:schemeClr val="tx2"/>
                </a:solidFill>
              </a:rPr>
              <a:t>methodologisch-forschungspraktischen Herausforderungen </a:t>
            </a:r>
            <a:r>
              <a:rPr lang="de-DE" sz="2000" dirty="0">
                <a:solidFill>
                  <a:schemeClr val="tx2"/>
                </a:solidFill>
              </a:rPr>
              <a:t>von intersektionaler Sozialforschung</a:t>
            </a:r>
          </a:p>
        </p:txBody>
      </p:sp>
    </p:spTree>
    <p:extLst>
      <p:ext uri="{BB962C8B-B14F-4D97-AF65-F5344CB8AC3E}">
        <p14:creationId xmlns:p14="http://schemas.microsoft.com/office/powerpoint/2010/main" val="3675458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231160"/>
            <a:ext cx="7560000" cy="468000"/>
          </a:xfrm>
        </p:spPr>
        <p:txBody>
          <a:bodyPr/>
          <a:lstStyle/>
          <a:p>
            <a:r>
              <a:rPr lang="de-DE" dirty="0"/>
              <a:t>Intersektionalität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92493"/>
            <a:ext cx="8492522" cy="401350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highlight>
                  <a:srgbClr val="FFFF00"/>
                </a:highlight>
                <a:sym typeface="Wingdings" panose="05000000000000000000" pitchFamily="2" charset="2"/>
              </a:rPr>
              <a:t>DEF</a:t>
            </a:r>
            <a:r>
              <a:rPr lang="de-DE" sz="1800" b="0" dirty="0">
                <a:sym typeface="Wingdings" panose="05000000000000000000" pitchFamily="2" charset="2"/>
              </a:rPr>
              <a:t> = </a:t>
            </a:r>
            <a:r>
              <a:rPr lang="de-DE" sz="1800" dirty="0">
                <a:sym typeface="Wingdings" panose="05000000000000000000" pitchFamily="2" charset="2"/>
              </a:rPr>
              <a:t>Verschränkung verschiedener Ungleichheiten</a:t>
            </a:r>
            <a:endParaRPr lang="de-DE" sz="14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Ziel: </a:t>
            </a:r>
            <a:r>
              <a:rPr lang="de-DE" sz="1800" dirty="0">
                <a:sym typeface="Wingdings" panose="05000000000000000000" pitchFamily="2" charset="2"/>
              </a:rPr>
              <a:t>Zusammenwirken</a:t>
            </a:r>
            <a:r>
              <a:rPr lang="de-DE" sz="1800" b="0" dirty="0">
                <a:sym typeface="Wingdings" panose="05000000000000000000" pitchFamily="2" charset="2"/>
              </a:rPr>
              <a:t> verschiedener </a:t>
            </a:r>
            <a:r>
              <a:rPr lang="de-DE" sz="1800" dirty="0">
                <a:sym typeface="Wingdings" panose="05000000000000000000" pitchFamily="2" charset="2"/>
              </a:rPr>
              <a:t>Merkmale</a:t>
            </a:r>
            <a:r>
              <a:rPr lang="de-DE" sz="1800" b="0" dirty="0">
                <a:sym typeface="Wingdings" panose="05000000000000000000" pitchFamily="2" charset="2"/>
              </a:rPr>
              <a:t> sozialer Ungleichheit analysieren  Wechselwirkungen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Beispiele:                                                                 weitere Variablen …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Bildungschanc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Kritikpunkt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1) Theoriedefizit  Zusammenwirken aller drei Kategorien theoretisch erfass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2) </a:t>
            </a:r>
            <a:r>
              <a:rPr lang="de-DE" sz="1800" b="0" dirty="0" err="1">
                <a:sym typeface="Wingdings" panose="05000000000000000000" pitchFamily="2" charset="2"/>
              </a:rPr>
              <a:t>Unberücksichtigung</a:t>
            </a:r>
            <a:r>
              <a:rPr lang="de-DE" sz="1800" b="0" dirty="0">
                <a:sym typeface="Wingdings" panose="05000000000000000000" pitchFamily="2" charset="2"/>
              </a:rPr>
              <a:t> von weiteren Merkmalen (Sexuelle Orientierung, Alter etc.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3) Herausforderung pol. Maßnahmen abzuleiten  oft Klientel-Politik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2</a:t>
            </a:fld>
            <a:r>
              <a:rPr lang="de-DE"/>
              <a:t> 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C7A25CD-0180-89A7-CF32-AB657074B36B}"/>
              </a:ext>
            </a:extLst>
          </p:cNvPr>
          <p:cNvSpPr/>
          <p:nvPr/>
        </p:nvSpPr>
        <p:spPr>
          <a:xfrm>
            <a:off x="3377028" y="1658844"/>
            <a:ext cx="1245138" cy="31647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Schicht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1AF2F928-C544-C231-4B5D-97A9F7A7F6F6}"/>
              </a:ext>
            </a:extLst>
          </p:cNvPr>
          <p:cNvSpPr/>
          <p:nvPr/>
        </p:nvSpPr>
        <p:spPr>
          <a:xfrm>
            <a:off x="5498844" y="2536770"/>
            <a:ext cx="1245138" cy="31647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Sexualität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DDB9F6A4-1FC5-7F4F-008E-A80A218C0EAF}"/>
              </a:ext>
            </a:extLst>
          </p:cNvPr>
          <p:cNvSpPr/>
          <p:nvPr/>
        </p:nvSpPr>
        <p:spPr>
          <a:xfrm>
            <a:off x="3353916" y="2599731"/>
            <a:ext cx="1245138" cy="31647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Nationalität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CF88BD5F-3C66-7A6F-7863-76851A0C765A}"/>
              </a:ext>
            </a:extLst>
          </p:cNvPr>
          <p:cNvSpPr/>
          <p:nvPr/>
        </p:nvSpPr>
        <p:spPr>
          <a:xfrm>
            <a:off x="6121413" y="2163301"/>
            <a:ext cx="1245138" cy="31647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Geschlecht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BEABEE8-0A08-F7DF-40E0-E82D85EF72DC}"/>
              </a:ext>
            </a:extLst>
          </p:cNvPr>
          <p:cNvSpPr/>
          <p:nvPr/>
        </p:nvSpPr>
        <p:spPr>
          <a:xfrm>
            <a:off x="6827228" y="2538948"/>
            <a:ext cx="1245138" cy="31647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Alter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DF121762-C783-5521-E014-146560828C6F}"/>
              </a:ext>
            </a:extLst>
          </p:cNvPr>
          <p:cNvCxnSpPr>
            <a:cxnSpLocks/>
          </p:cNvCxnSpPr>
          <p:nvPr/>
        </p:nvCxnSpPr>
        <p:spPr>
          <a:xfrm flipH="1">
            <a:off x="2334521" y="2163301"/>
            <a:ext cx="728797" cy="257826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07526E5-5ECC-AF77-4966-B0AEB4F60C99}"/>
              </a:ext>
            </a:extLst>
          </p:cNvPr>
          <p:cNvCxnSpPr>
            <a:cxnSpLocks/>
          </p:cNvCxnSpPr>
          <p:nvPr/>
        </p:nvCxnSpPr>
        <p:spPr>
          <a:xfrm>
            <a:off x="2334521" y="2540155"/>
            <a:ext cx="749642" cy="313091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3EC0F2F8-FE82-E2D8-21C2-3CD9DFAC653A}"/>
              </a:ext>
            </a:extLst>
          </p:cNvPr>
          <p:cNvCxnSpPr>
            <a:cxnSpLocks/>
          </p:cNvCxnSpPr>
          <p:nvPr/>
        </p:nvCxnSpPr>
        <p:spPr>
          <a:xfrm>
            <a:off x="3999597" y="2101844"/>
            <a:ext cx="0" cy="425674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5A71698C-2554-6DD9-454A-E73D1DC4D8DF}"/>
              </a:ext>
            </a:extLst>
          </p:cNvPr>
          <p:cNvCxnSpPr>
            <a:cxnSpLocks/>
          </p:cNvCxnSpPr>
          <p:nvPr/>
        </p:nvCxnSpPr>
        <p:spPr>
          <a:xfrm>
            <a:off x="2529840" y="2421472"/>
            <a:ext cx="3544654" cy="10818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805AFBB-5557-C714-3A15-DB12A6796045}"/>
              </a:ext>
            </a:extLst>
          </p:cNvPr>
          <p:cNvCxnSpPr/>
          <p:nvPr/>
        </p:nvCxnSpPr>
        <p:spPr>
          <a:xfrm>
            <a:off x="789206" y="3038496"/>
            <a:ext cx="7308000" cy="0"/>
          </a:xfrm>
          <a:prstGeom prst="line">
            <a:avLst/>
          </a:prstGeom>
          <a:ln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420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8) Sozialer Wandel: Definitionen und Dimension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6" y="2251710"/>
            <a:ext cx="767614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verschiedene </a:t>
            </a:r>
            <a:r>
              <a:rPr lang="de-DE" sz="2000" b="1" dirty="0">
                <a:solidFill>
                  <a:schemeClr val="tx2"/>
                </a:solidFill>
              </a:rPr>
              <a:t>Definitionen</a:t>
            </a:r>
            <a:r>
              <a:rPr lang="de-DE" sz="2000" dirty="0">
                <a:solidFill>
                  <a:schemeClr val="tx2"/>
                </a:solidFill>
              </a:rPr>
              <a:t> von </a:t>
            </a:r>
            <a:r>
              <a:rPr lang="de-DE" sz="2000" b="1" dirty="0">
                <a:solidFill>
                  <a:schemeClr val="tx2"/>
                </a:solidFill>
              </a:rPr>
              <a:t>'sozialem Wandel‘ </a:t>
            </a:r>
            <a:r>
              <a:rPr lang="de-DE" sz="2000" dirty="0">
                <a:solidFill>
                  <a:schemeClr val="tx2"/>
                </a:solidFill>
              </a:rPr>
              <a:t>und wissen, was diese Definitionen verbindet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kennen </a:t>
            </a:r>
            <a:r>
              <a:rPr lang="de-DE" sz="2000" b="1" dirty="0">
                <a:solidFill>
                  <a:schemeClr val="tx2"/>
                </a:solidFill>
              </a:rPr>
              <a:t>theoretische</a:t>
            </a:r>
            <a:r>
              <a:rPr lang="de-DE" sz="2000" dirty="0">
                <a:solidFill>
                  <a:schemeClr val="tx2"/>
                </a:solidFill>
              </a:rPr>
              <a:t> und </a:t>
            </a:r>
            <a:r>
              <a:rPr lang="de-DE" sz="2000" b="1" dirty="0">
                <a:solidFill>
                  <a:schemeClr val="tx2"/>
                </a:solidFill>
              </a:rPr>
              <a:t>methodologisch-empirische Probleme</a:t>
            </a:r>
            <a:r>
              <a:rPr lang="de-DE" sz="2000" dirty="0">
                <a:solidFill>
                  <a:schemeClr val="tx2"/>
                </a:solidFill>
              </a:rPr>
              <a:t> der </a:t>
            </a:r>
            <a:r>
              <a:rPr lang="de-DE" sz="2000" b="1" dirty="0">
                <a:solidFill>
                  <a:schemeClr val="tx2"/>
                </a:solidFill>
              </a:rPr>
              <a:t>Forschung</a:t>
            </a:r>
            <a:r>
              <a:rPr lang="de-DE" sz="2000" dirty="0">
                <a:solidFill>
                  <a:schemeClr val="tx2"/>
                </a:solidFill>
              </a:rPr>
              <a:t> zu sozialem Wandel.</a:t>
            </a:r>
          </a:p>
        </p:txBody>
      </p:sp>
    </p:spTree>
    <p:extLst>
      <p:ext uri="{BB962C8B-B14F-4D97-AF65-F5344CB8AC3E}">
        <p14:creationId xmlns:p14="http://schemas.microsoft.com/office/powerpoint/2010/main" val="22940162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09733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ozialer Wandel: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4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35397"/>
            <a:ext cx="8581857" cy="430810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 = „Kann als die </a:t>
            </a:r>
            <a:r>
              <a:rPr lang="de-DE" sz="1800" dirty="0"/>
              <a:t>prozessuale Veränderung der Sozialstruktur </a:t>
            </a:r>
            <a:r>
              <a:rPr lang="de-DE" sz="1800" b="0" dirty="0"/>
              <a:t>einer Gesellschaft in ihren </a:t>
            </a:r>
            <a:r>
              <a:rPr lang="de-DE" sz="1800" dirty="0"/>
              <a:t>grundlegenden Institutionen, Kulturmustern, zugehörigen sozialen Handlungen und Bewusstseinsinhalten </a:t>
            </a:r>
            <a:r>
              <a:rPr lang="de-DE" sz="1800" b="0" dirty="0"/>
              <a:t>verstanden werden“ Zapf (2018)</a:t>
            </a:r>
          </a:p>
          <a:p>
            <a:pPr>
              <a:lnSpc>
                <a:spcPct val="100000"/>
              </a:lnSpc>
            </a:pPr>
            <a:r>
              <a:rPr lang="de-DE" sz="1800" b="0" dirty="0">
                <a:solidFill>
                  <a:schemeClr val="accent2"/>
                </a:solidFill>
              </a:rPr>
              <a:t>Probleme Messung </a:t>
            </a:r>
            <a:r>
              <a:rPr lang="de-DE" sz="1800" b="0" dirty="0"/>
              <a:t>von sozialem Wandel:</a:t>
            </a:r>
            <a:endParaRPr lang="de-DE" altLang="de-DE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Veränderungen überhaupt 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als solche zu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identifizieren</a:t>
            </a: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9750" lvl="2" indent="-285750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icht von heute auf morgen- schleichend- wann begonnen?</a:t>
            </a:r>
          </a:p>
          <a:p>
            <a:pPr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2)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An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 stattgefundenen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Ereignissen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 sind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</a:rPr>
              <a:t>nicht unmittelbar Folgen ablesbar</a:t>
            </a:r>
          </a:p>
          <a:p>
            <a:pPr marL="519750" lvl="2" indent="-285750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Z.B. Erfindung Anti-Baby Pille unklar, dass Folge starker Geburtenrückgang ist</a:t>
            </a:r>
          </a:p>
          <a:p>
            <a:pPr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3)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icht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ufhaltbar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nd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lanbar</a:t>
            </a:r>
          </a:p>
          <a:p>
            <a:pPr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4) eher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ziellos</a:t>
            </a: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ausgerichtet und </a:t>
            </a:r>
            <a:r>
              <a:rPr lang="de-DE" altLang="de-DE" sz="18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kaum gestaltbar </a:t>
            </a:r>
            <a:endParaRPr lang="de-DE" altLang="de-DE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844750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9) Modernisierung: Konzept und Faktor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4" y="1611630"/>
            <a:ext cx="80208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önnen den soziologischen </a:t>
            </a:r>
            <a:r>
              <a:rPr lang="de-DE" sz="2000" b="1" dirty="0">
                <a:solidFill>
                  <a:schemeClr val="tx2"/>
                </a:solidFill>
              </a:rPr>
              <a:t>Begriff</a:t>
            </a:r>
            <a:r>
              <a:rPr lang="de-DE" sz="2000" dirty="0">
                <a:solidFill>
                  <a:schemeClr val="tx2"/>
                </a:solidFill>
              </a:rPr>
              <a:t> der </a:t>
            </a:r>
            <a:r>
              <a:rPr lang="de-DE" sz="2000" b="1" dirty="0">
                <a:solidFill>
                  <a:schemeClr val="tx2"/>
                </a:solidFill>
              </a:rPr>
              <a:t>'Modernisierung</a:t>
            </a:r>
            <a:r>
              <a:rPr lang="de-DE" sz="2000" dirty="0">
                <a:solidFill>
                  <a:schemeClr val="tx2"/>
                </a:solidFill>
              </a:rPr>
              <a:t>‘ definieren und </a:t>
            </a:r>
            <a:r>
              <a:rPr lang="de-DE" sz="2000" b="1" dirty="0">
                <a:solidFill>
                  <a:schemeClr val="tx2"/>
                </a:solidFill>
              </a:rPr>
              <a:t>vom Begriff </a:t>
            </a:r>
            <a:r>
              <a:rPr lang="de-DE" sz="2000" dirty="0">
                <a:solidFill>
                  <a:schemeClr val="tx2"/>
                </a:solidFill>
              </a:rPr>
              <a:t>des</a:t>
            </a:r>
            <a:r>
              <a:rPr lang="de-DE" sz="2000" b="1" dirty="0">
                <a:solidFill>
                  <a:schemeClr val="tx2"/>
                </a:solidFill>
              </a:rPr>
              <a:t> 'sozialen Wandels' unterscheiden.</a:t>
            </a:r>
          </a:p>
          <a:p>
            <a:endParaRPr lang="de-DE" sz="2000" b="1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kennen </a:t>
            </a:r>
            <a:r>
              <a:rPr lang="de-DE" sz="2000" b="1" dirty="0">
                <a:solidFill>
                  <a:schemeClr val="tx2"/>
                </a:solidFill>
              </a:rPr>
              <a:t>Einwände gegen </a:t>
            </a:r>
            <a:r>
              <a:rPr lang="de-DE" sz="2000" dirty="0">
                <a:solidFill>
                  <a:schemeClr val="tx2"/>
                </a:solidFill>
              </a:rPr>
              <a:t>das </a:t>
            </a:r>
            <a:r>
              <a:rPr lang="de-DE" sz="2000" b="1" dirty="0">
                <a:solidFill>
                  <a:schemeClr val="tx2"/>
                </a:solidFill>
              </a:rPr>
              <a:t>soziologische Modernisierungsdenken</a:t>
            </a:r>
            <a:r>
              <a:rPr lang="de-DE" sz="2000" dirty="0">
                <a:solidFill>
                  <a:schemeClr val="tx2"/>
                </a:solidFill>
              </a:rPr>
              <a:t> und wissen, warum es sich trotzdem lohnt, den Begriff beizubehalten.</a:t>
            </a:r>
          </a:p>
          <a:p>
            <a:endParaRPr lang="de-DE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7795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10) Perspektiven auf Modernisierung I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4" y="2030037"/>
            <a:ext cx="76761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die </a:t>
            </a:r>
            <a:r>
              <a:rPr lang="de-DE" sz="2000" b="1" dirty="0">
                <a:solidFill>
                  <a:schemeClr val="tx2"/>
                </a:solidFill>
              </a:rPr>
              <a:t>vier Perspektiven </a:t>
            </a:r>
            <a:r>
              <a:rPr lang="de-DE" sz="2000" dirty="0">
                <a:solidFill>
                  <a:schemeClr val="tx2"/>
                </a:solidFill>
              </a:rPr>
              <a:t>der </a:t>
            </a:r>
            <a:r>
              <a:rPr lang="de-DE" sz="2000" b="1" dirty="0">
                <a:solidFill>
                  <a:schemeClr val="tx2"/>
                </a:solidFill>
              </a:rPr>
              <a:t>Modernisierung nach van der Loo </a:t>
            </a:r>
            <a:r>
              <a:rPr lang="de-DE" sz="2000" dirty="0">
                <a:solidFill>
                  <a:schemeClr val="tx2"/>
                </a:solidFill>
              </a:rPr>
              <a:t>und van </a:t>
            </a:r>
            <a:r>
              <a:rPr lang="de-DE" sz="2000" dirty="0" err="1">
                <a:solidFill>
                  <a:schemeClr val="tx2"/>
                </a:solidFill>
              </a:rPr>
              <a:t>Reijen</a:t>
            </a:r>
            <a:r>
              <a:rPr lang="de-DE" sz="2000" dirty="0">
                <a:solidFill>
                  <a:schemeClr val="tx2"/>
                </a:solidFill>
              </a:rPr>
              <a:t> (1997) und können diese vier Perspektiven voneinander </a:t>
            </a:r>
            <a:r>
              <a:rPr lang="de-DE" sz="2000" b="1" dirty="0">
                <a:solidFill>
                  <a:schemeClr val="tx2"/>
                </a:solidFill>
              </a:rPr>
              <a:t>unterscheiden</a:t>
            </a:r>
            <a:r>
              <a:rPr lang="de-DE" sz="2000" dirty="0">
                <a:solidFill>
                  <a:schemeClr val="tx2"/>
                </a:solidFill>
              </a:rPr>
              <a:t>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kennen die </a:t>
            </a:r>
            <a:r>
              <a:rPr lang="de-DE" sz="2000" b="1" dirty="0" err="1">
                <a:solidFill>
                  <a:schemeClr val="tx2"/>
                </a:solidFill>
              </a:rPr>
              <a:t>Ambivaloxe</a:t>
            </a:r>
            <a:r>
              <a:rPr lang="de-DE" sz="2000" b="1" dirty="0">
                <a:solidFill>
                  <a:schemeClr val="tx2"/>
                </a:solidFill>
              </a:rPr>
              <a:t> der vier Perspektiven </a:t>
            </a:r>
            <a:r>
              <a:rPr lang="de-DE" sz="2000" dirty="0">
                <a:solidFill>
                  <a:schemeClr val="tx2"/>
                </a:solidFill>
              </a:rPr>
              <a:t>der Modernisierung nach van der Loo und van </a:t>
            </a:r>
            <a:r>
              <a:rPr lang="de-DE" sz="2000" dirty="0" err="1">
                <a:solidFill>
                  <a:schemeClr val="tx2"/>
                </a:solidFill>
              </a:rPr>
              <a:t>Reijen</a:t>
            </a:r>
            <a:r>
              <a:rPr lang="de-DE" sz="2000" dirty="0">
                <a:solidFill>
                  <a:schemeClr val="tx2"/>
                </a:solidFill>
              </a:rPr>
              <a:t> (1997).</a:t>
            </a:r>
          </a:p>
        </p:txBody>
      </p:sp>
    </p:spTree>
    <p:extLst>
      <p:ext uri="{BB962C8B-B14F-4D97-AF65-F5344CB8AC3E}">
        <p14:creationId xmlns:p14="http://schemas.microsoft.com/office/powerpoint/2010/main" val="4260500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r>
              <a:rPr lang="de-DE" dirty="0"/>
              <a:t>Modernisierungsbegriff:</a:t>
            </a:r>
            <a:endParaRPr lang="en-US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918000"/>
            <a:ext cx="5823619" cy="3366000"/>
          </a:xfrm>
        </p:spPr>
        <p:txBody>
          <a:bodyPr anchor="t">
            <a:normAutofit/>
          </a:bodyPr>
          <a:lstStyle/>
          <a:p>
            <a:r>
              <a:rPr lang="de-DE" sz="1800" b="0" dirty="0"/>
              <a:t>Modernisierung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 = „</a:t>
            </a:r>
            <a:r>
              <a:rPr lang="de-DE" sz="1800" dirty="0"/>
              <a:t>Komplex“</a:t>
            </a:r>
            <a:r>
              <a:rPr lang="de-DE" sz="1800" b="0" dirty="0"/>
              <a:t> miteinander zusammenhängender </a:t>
            </a:r>
            <a:r>
              <a:rPr lang="de-DE" sz="1800" dirty="0"/>
              <a:t>1)</a:t>
            </a:r>
            <a:r>
              <a:rPr lang="de-DE" sz="1800" b="0" dirty="0"/>
              <a:t> </a:t>
            </a:r>
            <a:r>
              <a:rPr lang="de-DE" sz="1800" dirty="0"/>
              <a:t>struktureller, 2) kultureller,  3) psychischer und 4) physischer Veränderungen</a:t>
            </a:r>
            <a:endParaRPr lang="de-DE" sz="1800" b="0" dirty="0"/>
          </a:p>
          <a:p>
            <a:endParaRPr lang="de-DE" altLang="de-DE" dirty="0"/>
          </a:p>
          <a:p>
            <a:endParaRPr lang="de-DE" b="0" dirty="0"/>
          </a:p>
          <a:p>
            <a:endParaRPr lang="de-DE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Tutorien Sozialstruktur und sozialer Wandel | stina.</a:t>
            </a:r>
            <a:r>
              <a:rPr lang="de-DE" sz="700" err="1"/>
              <a:t>runtemund</a:t>
            </a:r>
            <a:r>
              <a:rPr lang="de-DE" sz="700"/>
              <a:t>@.rub.de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7</a:t>
            </a:fld>
            <a:r>
              <a:rPr lang="de-DE" sz="70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F242DC2-5396-122A-048F-A0BC698301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0682" y="1548583"/>
            <a:ext cx="3756680" cy="2676917"/>
          </a:xfrm>
          <a:prstGeom prst="rect">
            <a:avLst/>
          </a:prstGeom>
          <a:noFill/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BE3E4719-F89E-AF3C-DF7C-A15ED7A74D03}"/>
              </a:ext>
            </a:extLst>
          </p:cNvPr>
          <p:cNvSpPr txBox="1"/>
          <p:nvPr/>
        </p:nvSpPr>
        <p:spPr>
          <a:xfrm>
            <a:off x="5959022" y="4159362"/>
            <a:ext cx="66595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de-DE" altLang="de-DE" sz="1400" b="0" dirty="0">
                <a:solidFill>
                  <a:schemeClr val="tx2"/>
                </a:solidFill>
                <a:cs typeface="Arial" panose="020B0604020202020204" pitchFamily="34" charset="0"/>
              </a:rPr>
              <a:t>van der Loo &amp; van </a:t>
            </a:r>
            <a:r>
              <a:rPr lang="de-DE" altLang="de-DE" sz="1400" b="0" dirty="0" err="1">
                <a:solidFill>
                  <a:schemeClr val="tx2"/>
                </a:solidFill>
                <a:cs typeface="Arial" panose="020B0604020202020204" pitchFamily="34" charset="0"/>
              </a:rPr>
              <a:t>Reijen</a:t>
            </a:r>
            <a:r>
              <a:rPr lang="de-DE" altLang="de-DE" sz="1400" b="0" dirty="0">
                <a:solidFill>
                  <a:schemeClr val="tx2"/>
                </a:solidFill>
                <a:cs typeface="Arial" panose="020B0604020202020204" pitchFamily="34" charset="0"/>
              </a:rPr>
              <a:t> (1997)</a:t>
            </a:r>
          </a:p>
        </p:txBody>
      </p:sp>
    </p:spTree>
    <p:extLst>
      <p:ext uri="{BB962C8B-B14F-4D97-AF65-F5344CB8AC3E}">
        <p14:creationId xmlns:p14="http://schemas.microsoft.com/office/powerpoint/2010/main" val="3043871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r>
              <a:rPr lang="de-DE"/>
              <a:t>Modernisierungsbegriff:</a:t>
            </a:r>
            <a:endParaRPr lang="en-US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Tutorien Sozialstruktur und sozialer Wandel | stina.runtemund@.rub.de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8</a:t>
            </a:fld>
            <a:r>
              <a:rPr lang="de-DE" sz="70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F242DC2-5396-122A-048F-A0BC698301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7336" y="-50400"/>
            <a:ext cx="1446663" cy="1030856"/>
          </a:xfrm>
          <a:prstGeom prst="rect">
            <a:avLst/>
          </a:prstGeom>
          <a:noFill/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5F627E2-0061-810B-C207-0E9FD8756860}"/>
              </a:ext>
            </a:extLst>
          </p:cNvPr>
          <p:cNvSpPr txBox="1"/>
          <p:nvPr/>
        </p:nvSpPr>
        <p:spPr>
          <a:xfrm>
            <a:off x="250650" y="980456"/>
            <a:ext cx="8561880" cy="369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0" dirty="0">
                <a:solidFill>
                  <a:schemeClr val="accent2"/>
                </a:solidFill>
              </a:rPr>
              <a:t>1) Differenzierung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Wachsende Arbeitsteilung </a:t>
            </a:r>
            <a:r>
              <a:rPr lang="de-DE" sz="1800" b="0" dirty="0">
                <a:solidFill>
                  <a:schemeClr val="tx2"/>
                </a:solidFill>
              </a:rPr>
              <a:t>&amp; Spezialisierung</a:t>
            </a:r>
          </a:p>
          <a:p>
            <a:pPr>
              <a:lnSpc>
                <a:spcPct val="110000"/>
              </a:lnSpc>
            </a:pPr>
            <a:r>
              <a:rPr lang="de-DE" altLang="de-DE" sz="1800" dirty="0" err="1">
                <a:solidFill>
                  <a:schemeClr val="tx2"/>
                </a:solidFill>
              </a:rPr>
              <a:t>Ambivalox</a:t>
            </a:r>
            <a:r>
              <a:rPr lang="de-DE" altLang="de-DE" sz="1800" dirty="0">
                <a:solidFill>
                  <a:schemeClr val="tx2"/>
                </a:solidFill>
              </a:rPr>
              <a:t>: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Effizienz &amp; Spezialisierung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Zunehmender Koordinationsaufwand &amp; Abhängigkeit untereinander</a:t>
            </a:r>
          </a:p>
          <a:p>
            <a:pPr>
              <a:lnSpc>
                <a:spcPct val="110000"/>
              </a:lnSpc>
            </a:pPr>
            <a:r>
              <a:rPr lang="de-DE" sz="1800" b="0" dirty="0">
                <a:solidFill>
                  <a:schemeClr val="accent2"/>
                </a:solidFill>
              </a:rPr>
              <a:t>2) Individualisierung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Freisetzung</a:t>
            </a:r>
            <a:r>
              <a:rPr lang="de-DE" sz="1800" b="0" dirty="0">
                <a:solidFill>
                  <a:schemeClr val="tx2"/>
                </a:solidFill>
              </a:rPr>
              <a:t> des Menschen </a:t>
            </a:r>
            <a:r>
              <a:rPr lang="de-DE" sz="1800" b="1" dirty="0">
                <a:solidFill>
                  <a:schemeClr val="tx2"/>
                </a:solidFill>
              </a:rPr>
              <a:t>aus gesell. Traditionen </a:t>
            </a:r>
            <a:r>
              <a:rPr lang="de-DE" sz="1800" b="0" dirty="0">
                <a:solidFill>
                  <a:schemeClr val="tx2"/>
                </a:solidFill>
              </a:rPr>
              <a:t>&amp; Normen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Neues Lebensgestaltung </a:t>
            </a:r>
            <a:r>
              <a:rPr lang="de-DE" sz="1800" dirty="0">
                <a:solidFill>
                  <a:schemeClr val="tx2"/>
                </a:solidFill>
                <a:sym typeface="Wingdings" panose="05000000000000000000" pitchFamily="2" charset="2"/>
              </a:rPr>
              <a:t> </a:t>
            </a:r>
            <a:r>
              <a:rPr lang="de-DE" sz="1800" dirty="0">
                <a:solidFill>
                  <a:schemeClr val="tx2"/>
                </a:solidFill>
              </a:rPr>
              <a:t>„Individuum rückt in den Mittelpunkt“</a:t>
            </a:r>
          </a:p>
          <a:p>
            <a:pPr>
              <a:lnSpc>
                <a:spcPct val="110000"/>
              </a:lnSpc>
            </a:pPr>
            <a:r>
              <a:rPr lang="de-DE" altLang="de-DE" sz="1800" dirty="0" err="1">
                <a:solidFill>
                  <a:schemeClr val="tx2"/>
                </a:solidFill>
              </a:rPr>
              <a:t>Ambivalox</a:t>
            </a:r>
            <a:r>
              <a:rPr lang="de-DE" altLang="de-DE" sz="1800" dirty="0">
                <a:solidFill>
                  <a:schemeClr val="tx2"/>
                </a:solidFill>
              </a:rPr>
              <a:t>: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Selbständigkeit &amp; Handlungsfreiheit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Orientierungslosigkeit &amp; fehlender Halt</a:t>
            </a:r>
          </a:p>
          <a:p>
            <a:pPr>
              <a:lnSpc>
                <a:spcPct val="110000"/>
              </a:lnSpc>
            </a:pPr>
            <a:endParaRPr lang="de-DE" sz="1800" b="0" dirty="0">
              <a:solidFill>
                <a:schemeClr val="tx2"/>
              </a:solidFill>
            </a:endParaRPr>
          </a:p>
        </p:txBody>
      </p:sp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4CDD8EF1-D173-F32A-A894-AA3CC9677E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0520" y="1944120"/>
            <a:ext cx="246600" cy="246600"/>
          </a:xfrm>
          <a:prstGeom prst="rect">
            <a:avLst/>
          </a:prstGeom>
        </p:spPr>
      </p:pic>
      <p:pic>
        <p:nvPicPr>
          <p:cNvPr id="8" name="Grafik 7" descr="Markee nicht mehr folgen mit einfarbiger Füllung">
            <a:extLst>
              <a:ext uri="{FF2B5EF4-FFF2-40B4-BE49-F238E27FC236}">
                <a16:creationId xmlns:a16="http://schemas.microsoft.com/office/drawing/2014/main" id="{F083A10B-6395-DBB7-59CA-135E43EAC6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7820" y="2209616"/>
            <a:ext cx="252000" cy="252000"/>
          </a:xfrm>
          <a:prstGeom prst="rect">
            <a:avLst/>
          </a:prstGeom>
        </p:spPr>
      </p:pic>
      <p:pic>
        <p:nvPicPr>
          <p:cNvPr id="9" name="Grafik 8" descr="Marke folgen mit einfarbiger Füllung">
            <a:extLst>
              <a:ext uri="{FF2B5EF4-FFF2-40B4-BE49-F238E27FC236}">
                <a16:creationId xmlns:a16="http://schemas.microsoft.com/office/drawing/2014/main" id="{0DE6BC20-E1E9-41F0-0731-29F49E15F2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3290" y="3759060"/>
            <a:ext cx="246600" cy="246600"/>
          </a:xfrm>
          <a:prstGeom prst="rect">
            <a:avLst/>
          </a:prstGeom>
        </p:spPr>
      </p:pic>
      <p:pic>
        <p:nvPicPr>
          <p:cNvPr id="10" name="Grafik 9" descr="Markee nicht mehr folgen mit einfarbiger Füllung">
            <a:extLst>
              <a:ext uri="{FF2B5EF4-FFF2-40B4-BE49-F238E27FC236}">
                <a16:creationId xmlns:a16="http://schemas.microsoft.com/office/drawing/2014/main" id="{7F437F4D-F0C7-189A-6322-18E2C526D4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3290" y="4020948"/>
            <a:ext cx="252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763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r>
              <a:rPr lang="de-DE"/>
              <a:t>Modernisierungsbegriff:</a:t>
            </a:r>
            <a:endParaRPr lang="en-US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Tutorien Sozialstruktur und sozialer Wandel | stina.runtemund@.rub.de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9</a:t>
            </a:fld>
            <a:r>
              <a:rPr lang="de-DE" sz="70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F242DC2-5396-122A-048F-A0BC698301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7336" y="-50400"/>
            <a:ext cx="1446663" cy="1030856"/>
          </a:xfrm>
          <a:prstGeom prst="rect">
            <a:avLst/>
          </a:prstGeom>
          <a:noFill/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5F627E2-0061-810B-C207-0E9FD8756860}"/>
              </a:ext>
            </a:extLst>
          </p:cNvPr>
          <p:cNvSpPr txBox="1"/>
          <p:nvPr/>
        </p:nvSpPr>
        <p:spPr>
          <a:xfrm>
            <a:off x="250650" y="980456"/>
            <a:ext cx="8561880" cy="36635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>
                <a:solidFill>
                  <a:schemeClr val="accent2"/>
                </a:solidFill>
              </a:rPr>
              <a:t>3</a:t>
            </a:r>
            <a:r>
              <a:rPr lang="de-DE" sz="1800" b="0" dirty="0">
                <a:solidFill>
                  <a:schemeClr val="accent2"/>
                </a:solidFill>
              </a:rPr>
              <a:t>) Rationalisierung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2"/>
                </a:solidFill>
              </a:rPr>
              <a:t>Begründbarkeit &amp; </a:t>
            </a:r>
            <a:r>
              <a:rPr lang="de-DE" sz="1800" b="1" dirty="0">
                <a:solidFill>
                  <a:schemeClr val="tx2"/>
                </a:solidFill>
              </a:rPr>
              <a:t>Beherrschbarkeit</a:t>
            </a:r>
            <a:r>
              <a:rPr lang="de-DE" sz="1800" b="0" dirty="0">
                <a:solidFill>
                  <a:schemeClr val="tx2"/>
                </a:solidFill>
              </a:rPr>
              <a:t> des Denken und Handelns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2"/>
                </a:solidFill>
              </a:rPr>
              <a:t>1) Zweck-Mittel-Rationalität</a:t>
            </a:r>
            <a:r>
              <a:rPr lang="de-DE" sz="1600" dirty="0">
                <a:solidFill>
                  <a:schemeClr val="tx2"/>
                </a:solidFill>
              </a:rPr>
              <a:t>; 2) Bürokratie; 3) Austauschbarkeit; 4) Erwartungssicherheit</a:t>
            </a:r>
            <a:endParaRPr lang="de-DE" sz="1600" b="0" dirty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de-DE" altLang="de-DE" sz="1800" dirty="0" err="1">
                <a:solidFill>
                  <a:schemeClr val="tx2"/>
                </a:solidFill>
              </a:rPr>
              <a:t>Ambivalox</a:t>
            </a:r>
            <a:r>
              <a:rPr lang="de-DE" altLang="de-DE" sz="1800" dirty="0">
                <a:solidFill>
                  <a:schemeClr val="tx2"/>
                </a:solidFill>
              </a:rPr>
              <a:t>: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Systematisierung &amp; Ordnung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Verschwimmende Grenzen durch Pluralisierung &amp; Generalisierung</a:t>
            </a:r>
          </a:p>
          <a:p>
            <a:pPr>
              <a:lnSpc>
                <a:spcPct val="110000"/>
              </a:lnSpc>
            </a:pPr>
            <a:r>
              <a:rPr lang="de-DE" sz="1800" b="0" dirty="0">
                <a:solidFill>
                  <a:schemeClr val="accent2"/>
                </a:solidFill>
              </a:rPr>
              <a:t>4) Domestizierung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Beherrschung</a:t>
            </a:r>
            <a:r>
              <a:rPr lang="de-DE" sz="1800" b="0" dirty="0">
                <a:solidFill>
                  <a:schemeClr val="tx2"/>
                </a:solidFill>
              </a:rPr>
              <a:t> der </a:t>
            </a:r>
            <a:r>
              <a:rPr lang="de-DE" sz="1800" b="1" dirty="0">
                <a:solidFill>
                  <a:schemeClr val="tx2"/>
                </a:solidFill>
              </a:rPr>
              <a:t>Natur </a:t>
            </a:r>
            <a:r>
              <a:rPr lang="de-DE" sz="1200" dirty="0">
                <a:solidFill>
                  <a:schemeClr val="tx2"/>
                </a:solidFill>
              </a:rPr>
              <a:t>(Natur als Umwelt &amp; Natur des Menschen) </a:t>
            </a:r>
          </a:p>
          <a:p>
            <a:pPr>
              <a:lnSpc>
                <a:spcPct val="110000"/>
              </a:lnSpc>
            </a:pPr>
            <a:r>
              <a:rPr lang="de-DE" altLang="de-DE" sz="1800" dirty="0" err="1">
                <a:solidFill>
                  <a:schemeClr val="tx2"/>
                </a:solidFill>
              </a:rPr>
              <a:t>Ambivalox</a:t>
            </a:r>
            <a:r>
              <a:rPr lang="de-DE" altLang="de-DE" sz="1800" dirty="0">
                <a:solidFill>
                  <a:schemeClr val="tx2"/>
                </a:solidFill>
              </a:rPr>
              <a:t>: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Errichten uns </a:t>
            </a:r>
            <a:r>
              <a:rPr lang="de-DE" altLang="de-DE" sz="1800" i="1" dirty="0">
                <a:solidFill>
                  <a:schemeClr val="tx2"/>
                </a:solidFill>
              </a:rPr>
              <a:t>künstliche Welten </a:t>
            </a:r>
            <a:r>
              <a:rPr lang="de-DE" altLang="de-DE" sz="1800" dirty="0">
                <a:solidFill>
                  <a:schemeClr val="tx2"/>
                </a:solidFill>
              </a:rPr>
              <a:t>in der Natur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Abhängigkeit von Technik &amp; Unbeherrschbarkeit der Natur</a:t>
            </a:r>
          </a:p>
          <a:p>
            <a:pPr>
              <a:lnSpc>
                <a:spcPct val="110000"/>
              </a:lnSpc>
            </a:pPr>
            <a:endParaRPr lang="de-DE" sz="1800" b="0" dirty="0">
              <a:solidFill>
                <a:schemeClr val="tx2"/>
              </a:solidFill>
            </a:endParaRPr>
          </a:p>
        </p:txBody>
      </p:sp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4CDD8EF1-D173-F32A-A894-AA3CC9677E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1471" y="2157963"/>
            <a:ext cx="246600" cy="246600"/>
          </a:xfrm>
          <a:prstGeom prst="rect">
            <a:avLst/>
          </a:prstGeom>
        </p:spPr>
      </p:pic>
      <p:pic>
        <p:nvPicPr>
          <p:cNvPr id="8" name="Grafik 7" descr="Markee nicht mehr folgen mit einfarbiger Füllung">
            <a:extLst>
              <a:ext uri="{FF2B5EF4-FFF2-40B4-BE49-F238E27FC236}">
                <a16:creationId xmlns:a16="http://schemas.microsoft.com/office/drawing/2014/main" id="{F083A10B-6395-DBB7-59CA-135E43EAC6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7890" y="2445750"/>
            <a:ext cx="252000" cy="252000"/>
          </a:xfrm>
          <a:prstGeom prst="rect">
            <a:avLst/>
          </a:prstGeom>
        </p:spPr>
      </p:pic>
      <p:pic>
        <p:nvPicPr>
          <p:cNvPr id="9" name="Grafik 8" descr="Marke folgen mit einfarbiger Füllung">
            <a:extLst>
              <a:ext uri="{FF2B5EF4-FFF2-40B4-BE49-F238E27FC236}">
                <a16:creationId xmlns:a16="http://schemas.microsoft.com/office/drawing/2014/main" id="{0DE6BC20-E1E9-41F0-0731-29F49E15F2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3290" y="3759060"/>
            <a:ext cx="246600" cy="246600"/>
          </a:xfrm>
          <a:prstGeom prst="rect">
            <a:avLst/>
          </a:prstGeom>
        </p:spPr>
      </p:pic>
      <p:pic>
        <p:nvPicPr>
          <p:cNvPr id="10" name="Grafik 9" descr="Markee nicht mehr folgen mit einfarbiger Füllung">
            <a:extLst>
              <a:ext uri="{FF2B5EF4-FFF2-40B4-BE49-F238E27FC236}">
                <a16:creationId xmlns:a16="http://schemas.microsoft.com/office/drawing/2014/main" id="{7F437F4D-F0C7-189A-6322-18E2C526D4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3290" y="4020948"/>
            <a:ext cx="252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649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BA7BE43-7669-27F1-CD8E-42809D160E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070810"/>
            <a:ext cx="7886700" cy="3561912"/>
          </a:xfrm>
        </p:spPr>
        <p:txBody>
          <a:bodyPr/>
          <a:lstStyle/>
          <a:p>
            <a:pPr marL="428625" indent="-428625">
              <a:buAutoNum type="romanUcPeriod"/>
            </a:pPr>
            <a:r>
              <a:rPr lang="de-DE" sz="2000" b="0" i="0" dirty="0">
                <a:solidFill>
                  <a:srgbClr val="002060"/>
                </a:solidFill>
                <a:effectLst/>
              </a:rPr>
              <a:t>Einführung und Überblick: Grundfragen, Begriffe und Vorgehensweisen bei der Erforschung von </a:t>
            </a:r>
            <a:r>
              <a:rPr lang="de-DE" sz="2000" i="0" dirty="0">
                <a:solidFill>
                  <a:srgbClr val="002060"/>
                </a:solidFill>
                <a:effectLst/>
              </a:rPr>
              <a:t>Sozialstruktur</a:t>
            </a:r>
          </a:p>
          <a:p>
            <a:pPr marL="428625" indent="-428625">
              <a:buFont typeface="Arial" panose="020B0604020202020204" pitchFamily="34" charset="0"/>
              <a:buAutoNum type="romanUcPeriod"/>
            </a:pPr>
            <a:r>
              <a:rPr lang="de-DE" sz="2000" b="0" i="0" dirty="0">
                <a:solidFill>
                  <a:srgbClr val="002060"/>
                </a:solidFill>
                <a:effectLst/>
              </a:rPr>
              <a:t>Sozialstrukturanalyse als </a:t>
            </a:r>
            <a:r>
              <a:rPr lang="de-DE" sz="2000" i="0" dirty="0" err="1">
                <a:solidFill>
                  <a:srgbClr val="002060"/>
                </a:solidFill>
                <a:effectLst/>
              </a:rPr>
              <a:t>Ungleichheitsnalyse</a:t>
            </a:r>
            <a:endParaRPr lang="de-DE" sz="2000" i="0" dirty="0">
              <a:solidFill>
                <a:srgbClr val="002060"/>
              </a:solidFill>
              <a:effectLst/>
            </a:endParaRPr>
          </a:p>
          <a:p>
            <a:pPr marL="428625" indent="-428625">
              <a:buFont typeface="Arial" panose="020B0604020202020204" pitchFamily="34" charset="0"/>
              <a:buAutoNum type="romanUcPeriod"/>
            </a:pPr>
            <a:r>
              <a:rPr lang="de-DE" sz="2000" b="0" i="0" dirty="0">
                <a:solidFill>
                  <a:srgbClr val="002060"/>
                </a:solidFill>
                <a:effectLst/>
              </a:rPr>
              <a:t>Sozialstruktur und </a:t>
            </a:r>
            <a:r>
              <a:rPr lang="de-DE" sz="2000" i="0" dirty="0">
                <a:solidFill>
                  <a:srgbClr val="002060"/>
                </a:solidFill>
                <a:effectLst/>
              </a:rPr>
              <a:t>sozialer Wandel</a:t>
            </a:r>
          </a:p>
          <a:p>
            <a:pPr marL="428625" indent="-428625">
              <a:buFont typeface="Arial" panose="020B0604020202020204" pitchFamily="34" charset="0"/>
              <a:buAutoNum type="romanUcPeriod"/>
            </a:pPr>
            <a:r>
              <a:rPr lang="de-DE" sz="2000" i="0" dirty="0">
                <a:solidFill>
                  <a:srgbClr val="002060"/>
                </a:solidFill>
                <a:effectLst/>
              </a:rPr>
              <a:t>Empirische Sozialstrukturanalyse </a:t>
            </a:r>
            <a:r>
              <a:rPr lang="de-DE" sz="2000" b="0" i="0" dirty="0">
                <a:solidFill>
                  <a:srgbClr val="002060"/>
                </a:solidFill>
                <a:effectLst/>
              </a:rPr>
              <a:t>am Beispiel Deutschlands</a:t>
            </a:r>
          </a:p>
          <a:p>
            <a:r>
              <a:rPr lang="de-DE" sz="2000" b="0">
                <a:solidFill>
                  <a:srgbClr val="FF0000"/>
                </a:solidFill>
              </a:rPr>
              <a:t>                                                    !!</a:t>
            </a:r>
            <a:endParaRPr lang="de-DE" sz="2000" b="0" i="0" dirty="0">
              <a:solidFill>
                <a:srgbClr val="FF0000"/>
              </a:solidFill>
              <a:effectLst/>
            </a:endParaRPr>
          </a:p>
          <a:p>
            <a:pPr marL="428625" indent="-428625">
              <a:buAutoNum type="romanUcPeriod"/>
            </a:pPr>
            <a:endParaRPr lang="de-DE" b="0" i="0" dirty="0">
              <a:solidFill>
                <a:srgbClr val="212529"/>
              </a:solidFill>
              <a:effectLst/>
              <a:latin typeface="-apple-system"/>
            </a:endParaRPr>
          </a:p>
          <a:p>
            <a:endParaRPr lang="de-DE" b="0" i="0" dirty="0">
              <a:solidFill>
                <a:srgbClr val="212529"/>
              </a:solidFill>
              <a:effectLst/>
              <a:latin typeface="-apple-system"/>
            </a:endParaRPr>
          </a:p>
          <a:p>
            <a:endParaRPr lang="de-DE" i="1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F52DE88-288A-9D9D-4DC5-E34AFEE7D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662426"/>
          </a:xfrm>
        </p:spPr>
        <p:txBody>
          <a:bodyPr>
            <a:normAutofit/>
          </a:bodyPr>
          <a:lstStyle/>
          <a:p>
            <a:r>
              <a:rPr lang="de-DE" dirty="0"/>
              <a:t>Themenblöcke:</a:t>
            </a:r>
          </a:p>
        </p:txBody>
      </p:sp>
    </p:spTree>
    <p:extLst>
      <p:ext uri="{BB962C8B-B14F-4D97-AF65-F5344CB8AC3E}">
        <p14:creationId xmlns:p14="http://schemas.microsoft.com/office/powerpoint/2010/main" val="39651662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11) Perspektiven auf Modernisierung I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4" y="1744058"/>
            <a:ext cx="767614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die </a:t>
            </a:r>
            <a:r>
              <a:rPr lang="de-DE" sz="2000" b="1" dirty="0">
                <a:solidFill>
                  <a:schemeClr val="tx2"/>
                </a:solidFill>
              </a:rPr>
              <a:t>vier Perspektiven </a:t>
            </a:r>
            <a:r>
              <a:rPr lang="de-DE" sz="2000" dirty="0">
                <a:solidFill>
                  <a:schemeClr val="tx2"/>
                </a:solidFill>
              </a:rPr>
              <a:t>der Modernisierung </a:t>
            </a:r>
            <a:r>
              <a:rPr lang="de-DE" sz="2000" b="1" dirty="0">
                <a:solidFill>
                  <a:schemeClr val="tx2"/>
                </a:solidFill>
              </a:rPr>
              <a:t>nach </a:t>
            </a:r>
            <a:r>
              <a:rPr lang="de-DE" sz="2000" b="1" dirty="0" err="1">
                <a:solidFill>
                  <a:schemeClr val="tx2"/>
                </a:solidFill>
              </a:rPr>
              <a:t>Degele</a:t>
            </a:r>
            <a:r>
              <a:rPr lang="de-DE" sz="2000" b="1" dirty="0">
                <a:solidFill>
                  <a:schemeClr val="tx2"/>
                </a:solidFill>
              </a:rPr>
              <a:t> und Dries (2005)</a:t>
            </a:r>
            <a:r>
              <a:rPr lang="de-DE" sz="2000" dirty="0">
                <a:solidFill>
                  <a:schemeClr val="tx2"/>
                </a:solidFill>
              </a:rPr>
              <a:t>, die das </a:t>
            </a:r>
            <a:r>
              <a:rPr lang="de-DE" sz="2000" b="1" dirty="0">
                <a:solidFill>
                  <a:schemeClr val="tx2"/>
                </a:solidFill>
              </a:rPr>
              <a:t>Modell</a:t>
            </a:r>
            <a:r>
              <a:rPr lang="de-DE" sz="2000" dirty="0">
                <a:solidFill>
                  <a:schemeClr val="tx2"/>
                </a:solidFill>
              </a:rPr>
              <a:t> von van der Loo und van </a:t>
            </a:r>
            <a:r>
              <a:rPr lang="de-DE" sz="2000" dirty="0" err="1">
                <a:solidFill>
                  <a:schemeClr val="tx2"/>
                </a:solidFill>
              </a:rPr>
              <a:t>Reijen</a:t>
            </a:r>
            <a:r>
              <a:rPr lang="de-DE" sz="2000" dirty="0">
                <a:solidFill>
                  <a:schemeClr val="tx2"/>
                </a:solidFill>
              </a:rPr>
              <a:t> (1997) </a:t>
            </a:r>
            <a:r>
              <a:rPr lang="de-DE" sz="2000" b="1" dirty="0">
                <a:solidFill>
                  <a:schemeClr val="tx2"/>
                </a:solidFill>
              </a:rPr>
              <a:t>ergänzen</a:t>
            </a:r>
            <a:r>
              <a:rPr lang="de-DE" sz="2000" dirty="0">
                <a:solidFill>
                  <a:schemeClr val="tx2"/>
                </a:solidFill>
              </a:rPr>
              <a:t>, und können diese vier Perspektiven voneinander unterscheiden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kennen die </a:t>
            </a:r>
            <a:r>
              <a:rPr lang="de-DE" sz="2000" b="1" dirty="0" err="1">
                <a:solidFill>
                  <a:schemeClr val="tx2"/>
                </a:solidFill>
              </a:rPr>
              <a:t>Ambivaloxe</a:t>
            </a:r>
            <a:r>
              <a:rPr lang="de-DE" sz="2000" b="1" dirty="0">
                <a:solidFill>
                  <a:schemeClr val="tx2"/>
                </a:solidFill>
              </a:rPr>
              <a:t> der vier Perspektiven </a:t>
            </a:r>
            <a:r>
              <a:rPr lang="de-DE" sz="2000" dirty="0">
                <a:solidFill>
                  <a:schemeClr val="tx2"/>
                </a:solidFill>
              </a:rPr>
              <a:t>der Modernisierung nach </a:t>
            </a:r>
            <a:r>
              <a:rPr lang="de-DE" sz="2000" dirty="0" err="1">
                <a:solidFill>
                  <a:schemeClr val="tx2"/>
                </a:solidFill>
              </a:rPr>
              <a:t>Degele</a:t>
            </a:r>
            <a:r>
              <a:rPr lang="de-DE" sz="2000" dirty="0">
                <a:solidFill>
                  <a:schemeClr val="tx2"/>
                </a:solidFill>
              </a:rPr>
              <a:t> und Dries (2005), die das Modell von van der Loo und van </a:t>
            </a:r>
            <a:r>
              <a:rPr lang="de-DE" sz="2000" dirty="0" err="1">
                <a:solidFill>
                  <a:schemeClr val="tx2"/>
                </a:solidFill>
              </a:rPr>
              <a:t>Reijen</a:t>
            </a:r>
            <a:r>
              <a:rPr lang="de-DE" sz="2000" dirty="0">
                <a:solidFill>
                  <a:schemeClr val="tx2"/>
                </a:solidFill>
              </a:rPr>
              <a:t> (1997) ergänzen</a:t>
            </a:r>
          </a:p>
        </p:txBody>
      </p:sp>
    </p:spTree>
    <p:extLst>
      <p:ext uri="{BB962C8B-B14F-4D97-AF65-F5344CB8AC3E}">
        <p14:creationId xmlns:p14="http://schemas.microsoft.com/office/powerpoint/2010/main" val="41567615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r>
              <a:rPr lang="de-DE" dirty="0"/>
              <a:t>Modernisierungsbegriff:</a:t>
            </a:r>
            <a:endParaRPr lang="en-US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918000"/>
            <a:ext cx="5823619" cy="3366000"/>
          </a:xfrm>
        </p:spPr>
        <p:txBody>
          <a:bodyPr anchor="t">
            <a:normAutofit/>
          </a:bodyPr>
          <a:lstStyle/>
          <a:p>
            <a:r>
              <a:rPr lang="de-DE" sz="1800" b="0" dirty="0">
                <a:highlight>
                  <a:srgbClr val="FFFF00"/>
                </a:highlight>
              </a:rPr>
              <a:t>Erweiterung</a:t>
            </a:r>
            <a:endParaRPr lang="de-DE" sz="1800" b="0" dirty="0"/>
          </a:p>
          <a:p>
            <a:endParaRPr lang="de-DE" altLang="de-DE" dirty="0"/>
          </a:p>
          <a:p>
            <a:endParaRPr lang="de-DE" b="0" dirty="0"/>
          </a:p>
          <a:p>
            <a:endParaRPr lang="de-DE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Tutorien Sozialstruktur und sozialer Wandel | stina.</a:t>
            </a:r>
            <a:r>
              <a:rPr lang="de-DE" sz="700" err="1"/>
              <a:t>runtemund</a:t>
            </a:r>
            <a:r>
              <a:rPr lang="de-DE" sz="700"/>
              <a:t>@.rub.de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31</a:t>
            </a:fld>
            <a:r>
              <a:rPr lang="de-DE" sz="70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F242DC2-5396-122A-048F-A0BC698301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00" y="2144488"/>
            <a:ext cx="1862295" cy="1327025"/>
          </a:xfrm>
          <a:prstGeom prst="rect">
            <a:avLst/>
          </a:prstGeom>
          <a:noFill/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403A699A-30A4-6D2E-801E-0EEF0AA9CAEF}"/>
              </a:ext>
            </a:extLst>
          </p:cNvPr>
          <p:cNvSpPr txBox="1"/>
          <p:nvPr/>
        </p:nvSpPr>
        <p:spPr>
          <a:xfrm>
            <a:off x="5814204" y="4225500"/>
            <a:ext cx="6659592" cy="5155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1400" b="0" dirty="0" err="1">
                <a:solidFill>
                  <a:schemeClr val="tx2"/>
                </a:solidFill>
                <a:cs typeface="Arial" panose="020B0604020202020204" pitchFamily="34" charset="0"/>
              </a:rPr>
              <a:t>Degele</a:t>
            </a:r>
            <a:r>
              <a:rPr lang="de-DE" altLang="de-DE" sz="1400" b="0" dirty="0">
                <a:solidFill>
                  <a:schemeClr val="tx2"/>
                </a:solidFill>
                <a:cs typeface="Arial" panose="020B0604020202020204" pitchFamily="34" charset="0"/>
              </a:rPr>
              <a:t> &amp; Dries (2005</a:t>
            </a:r>
            <a:r>
              <a:rPr lang="de-DE" altLang="de-DE" sz="1400" b="0" dirty="0">
                <a:cs typeface="Arial" panose="020B0604020202020204" pitchFamily="34" charset="0"/>
              </a:rPr>
              <a:t>)</a:t>
            </a:r>
            <a:br>
              <a:rPr lang="de-DE" sz="1400" b="1" dirty="0"/>
            </a:b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ED25C3-2B19-9A14-B900-D8D13733BD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4688" y="672860"/>
            <a:ext cx="3638912" cy="3575809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13AB4DEB-A1F5-328C-F457-2F4DC26CA2CD}"/>
              </a:ext>
            </a:extLst>
          </p:cNvPr>
          <p:cNvCxnSpPr/>
          <p:nvPr/>
        </p:nvCxnSpPr>
        <p:spPr>
          <a:xfrm>
            <a:off x="2718824" y="2571750"/>
            <a:ext cx="783501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4367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r>
              <a:rPr lang="de-DE" dirty="0"/>
              <a:t>Modernisierungsbegriff:</a:t>
            </a:r>
            <a:endParaRPr lang="en-US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Tutorien Sozialstruktur und sozialer Wandel | stina.runtemund@.rub.de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32</a:t>
            </a:fld>
            <a:r>
              <a:rPr lang="de-DE" sz="700"/>
              <a:t>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5F627E2-0061-810B-C207-0E9FD8756860}"/>
              </a:ext>
            </a:extLst>
          </p:cNvPr>
          <p:cNvSpPr txBox="1"/>
          <p:nvPr/>
        </p:nvSpPr>
        <p:spPr>
          <a:xfrm>
            <a:off x="258120" y="870552"/>
            <a:ext cx="8885880" cy="4002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0" dirty="0">
                <a:solidFill>
                  <a:schemeClr val="accent2"/>
                </a:solidFill>
              </a:rPr>
              <a:t>1) Beschleunigung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2"/>
                </a:solidFill>
              </a:rPr>
              <a:t>Zeit und Mengenzunahme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Technische Beschleunigung, beschleunigter sozialer Wandel &amp; individuelles Lebenstempo</a:t>
            </a:r>
            <a:endParaRPr lang="de-DE" sz="1600" b="0" dirty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de-DE" altLang="de-DE" sz="1800" dirty="0" err="1">
                <a:solidFill>
                  <a:schemeClr val="tx2"/>
                </a:solidFill>
              </a:rPr>
              <a:t>Ambivalox</a:t>
            </a:r>
            <a:r>
              <a:rPr lang="de-DE" altLang="de-DE" sz="1800" dirty="0">
                <a:solidFill>
                  <a:schemeClr val="tx2"/>
                </a:solidFill>
              </a:rPr>
              <a:t>: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Technik entlastet &amp; steigert Interaktionsmöglichkeiten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Beschleunigungsprozesse bewirken gegenteiliges (Entschleunigung &amp; Stillstand)</a:t>
            </a:r>
          </a:p>
          <a:p>
            <a:pPr>
              <a:lnSpc>
                <a:spcPct val="110000"/>
              </a:lnSpc>
            </a:pPr>
            <a:r>
              <a:rPr lang="de-DE" sz="1800" b="0" dirty="0">
                <a:solidFill>
                  <a:schemeClr val="accent2"/>
                </a:solidFill>
              </a:rPr>
              <a:t>2) Globalisierung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2"/>
                </a:solidFill>
              </a:rPr>
              <a:t>Verflechtungen &amp; </a:t>
            </a:r>
            <a:r>
              <a:rPr lang="de-DE" sz="1800" dirty="0">
                <a:solidFill>
                  <a:schemeClr val="tx2"/>
                </a:solidFill>
              </a:rPr>
              <a:t>A</a:t>
            </a:r>
            <a:r>
              <a:rPr lang="de-DE" sz="1800" b="0" dirty="0">
                <a:solidFill>
                  <a:schemeClr val="tx2"/>
                </a:solidFill>
              </a:rPr>
              <a:t>bhängigkeiten von Staaten und Individuen</a:t>
            </a:r>
            <a:endParaRPr lang="de-DE" sz="1800" dirty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de-DE" altLang="de-DE" sz="1800" dirty="0" err="1">
                <a:solidFill>
                  <a:schemeClr val="tx2"/>
                </a:solidFill>
              </a:rPr>
              <a:t>Ambivalox</a:t>
            </a:r>
            <a:r>
              <a:rPr lang="de-DE" altLang="de-DE" sz="1800" dirty="0">
                <a:solidFill>
                  <a:schemeClr val="tx2"/>
                </a:solidFill>
              </a:rPr>
              <a:t>: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Zunehmende Verdichtungen &amp; globale Interdependenzen (z.B. MC Donald)</a:t>
            </a:r>
          </a:p>
          <a:p>
            <a:pPr lvl="1">
              <a:lnSpc>
                <a:spcPct val="110000"/>
              </a:lnSpc>
            </a:pPr>
            <a:r>
              <a:rPr lang="de-DE" altLang="de-DE" sz="1800" dirty="0">
                <a:solidFill>
                  <a:schemeClr val="tx2"/>
                </a:solidFill>
              </a:rPr>
              <a:t>Gegenläufige Tendenzen (u.a. De-Globalisierung) </a:t>
            </a:r>
          </a:p>
          <a:p>
            <a:pPr>
              <a:lnSpc>
                <a:spcPct val="110000"/>
              </a:lnSpc>
            </a:pPr>
            <a:endParaRPr lang="de-DE" sz="1800" b="0" dirty="0">
              <a:solidFill>
                <a:schemeClr val="tx2"/>
              </a:solidFill>
            </a:endParaRPr>
          </a:p>
        </p:txBody>
      </p:sp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4CDD8EF1-D173-F32A-A894-AA3CC9677E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0520" y="2401586"/>
            <a:ext cx="246600" cy="246600"/>
          </a:xfrm>
          <a:prstGeom prst="rect">
            <a:avLst/>
          </a:prstGeom>
        </p:spPr>
      </p:pic>
      <p:pic>
        <p:nvPicPr>
          <p:cNvPr id="8" name="Grafik 7" descr="Markee nicht mehr folgen mit einfarbiger Füllung">
            <a:extLst>
              <a:ext uri="{FF2B5EF4-FFF2-40B4-BE49-F238E27FC236}">
                <a16:creationId xmlns:a16="http://schemas.microsoft.com/office/drawing/2014/main" id="{F083A10B-6395-DBB7-59CA-135E43EAC6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7820" y="2685276"/>
            <a:ext cx="252000" cy="252000"/>
          </a:xfrm>
          <a:prstGeom prst="rect">
            <a:avLst/>
          </a:prstGeom>
        </p:spPr>
      </p:pic>
      <p:pic>
        <p:nvPicPr>
          <p:cNvPr id="9" name="Grafik 8" descr="Marke folgen mit einfarbiger Füllung">
            <a:extLst>
              <a:ext uri="{FF2B5EF4-FFF2-40B4-BE49-F238E27FC236}">
                <a16:creationId xmlns:a16="http://schemas.microsoft.com/office/drawing/2014/main" id="{0DE6BC20-E1E9-41F0-0731-29F49E15F2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946" y="3921820"/>
            <a:ext cx="246600" cy="246600"/>
          </a:xfrm>
          <a:prstGeom prst="rect">
            <a:avLst/>
          </a:prstGeom>
        </p:spPr>
      </p:pic>
      <p:pic>
        <p:nvPicPr>
          <p:cNvPr id="10" name="Grafik 9" descr="Markee nicht mehr folgen mit einfarbiger Füllung">
            <a:extLst>
              <a:ext uri="{FF2B5EF4-FFF2-40B4-BE49-F238E27FC236}">
                <a16:creationId xmlns:a16="http://schemas.microsoft.com/office/drawing/2014/main" id="{7F437F4D-F0C7-189A-6322-18E2C526D4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1308" y="4210910"/>
            <a:ext cx="252000" cy="25200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87A44B0-0398-F411-0962-4B73A51231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46242" y="1"/>
            <a:ext cx="997758" cy="98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7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r>
              <a:rPr lang="de-DE" dirty="0"/>
              <a:t>Modernisierungsbegriff:</a:t>
            </a:r>
            <a:endParaRPr lang="en-US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Tutorien Sozialstruktur und sozialer Wandel | stina.runtemund@.rub.de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33</a:t>
            </a:fld>
            <a:r>
              <a:rPr lang="de-DE" sz="700"/>
              <a:t>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5F627E2-0061-810B-C207-0E9FD8756860}"/>
              </a:ext>
            </a:extLst>
          </p:cNvPr>
          <p:cNvSpPr txBox="1"/>
          <p:nvPr/>
        </p:nvSpPr>
        <p:spPr>
          <a:xfrm>
            <a:off x="258120" y="870552"/>
            <a:ext cx="8561880" cy="4002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0" dirty="0">
                <a:solidFill>
                  <a:schemeClr val="accent2"/>
                </a:solidFill>
              </a:rPr>
              <a:t>3) Integration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Systematisches Zusammenhängen von Teilsystemen</a:t>
            </a:r>
            <a:r>
              <a:rPr lang="de-DE" sz="1800" b="0" dirty="0">
                <a:solidFill>
                  <a:schemeClr val="tx2"/>
                </a:solidFill>
              </a:rPr>
              <a:t> 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Wechselseitige Einschränkungen &amp; Justierung </a:t>
            </a:r>
            <a:endParaRPr lang="de-DE" sz="1800" b="0" dirty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de-DE" altLang="de-DE" sz="1800" dirty="0" err="1">
                <a:solidFill>
                  <a:schemeClr val="tx2"/>
                </a:solidFill>
              </a:rPr>
              <a:t>Ambivalox</a:t>
            </a:r>
            <a:r>
              <a:rPr lang="de-DE" altLang="de-DE" sz="1800" dirty="0">
                <a:solidFill>
                  <a:schemeClr val="tx2"/>
                </a:solidFill>
              </a:rPr>
              <a:t>:</a:t>
            </a:r>
          </a:p>
          <a:p>
            <a:pPr>
              <a:lnSpc>
                <a:spcPct val="110000"/>
              </a:lnSpc>
            </a:pPr>
            <a:r>
              <a:rPr lang="de-DE" sz="1800" b="0" dirty="0">
                <a:solidFill>
                  <a:schemeClr val="accent2"/>
                </a:solidFill>
              </a:rPr>
              <a:t>     </a:t>
            </a:r>
            <a:r>
              <a:rPr lang="de-DE" sz="1800" b="0" dirty="0">
                <a:solidFill>
                  <a:schemeClr val="tx2"/>
                </a:solidFill>
              </a:rPr>
              <a:t>-</a:t>
            </a:r>
          </a:p>
          <a:p>
            <a:pPr>
              <a:lnSpc>
                <a:spcPct val="110000"/>
              </a:lnSpc>
            </a:pPr>
            <a:r>
              <a:rPr lang="de-DE" sz="1800" dirty="0">
                <a:solidFill>
                  <a:schemeClr val="tx2"/>
                </a:solidFill>
              </a:rPr>
              <a:t>     -</a:t>
            </a:r>
          </a:p>
          <a:p>
            <a:pPr>
              <a:lnSpc>
                <a:spcPct val="110000"/>
              </a:lnSpc>
            </a:pPr>
            <a:r>
              <a:rPr lang="de-DE" sz="1800" b="0" dirty="0">
                <a:solidFill>
                  <a:schemeClr val="accent2"/>
                </a:solidFill>
              </a:rPr>
              <a:t>4) </a:t>
            </a:r>
            <a:r>
              <a:rPr lang="de-DE" sz="1800" b="0" dirty="0" err="1">
                <a:solidFill>
                  <a:schemeClr val="accent2"/>
                </a:solidFill>
              </a:rPr>
              <a:t>Vergeschlechtlichung</a:t>
            </a:r>
            <a:r>
              <a:rPr lang="de-DE" sz="1800" b="0" dirty="0"/>
              <a:t>: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2"/>
                </a:solidFill>
              </a:rPr>
              <a:t>Modernisierung erscheint geschlechtsneutral 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Jedoch nicht geschlechtsneutrale </a:t>
            </a:r>
            <a:r>
              <a:rPr lang="de-DE" sz="1800" dirty="0">
                <a:solidFill>
                  <a:schemeClr val="tx2"/>
                </a:solidFill>
                <a:sym typeface="Wingdings" panose="05000000000000000000" pitchFamily="2" charset="2"/>
              </a:rPr>
              <a:t> ungleiche Ressourcen  Hierarchisch </a:t>
            </a:r>
            <a:endParaRPr lang="de-DE" sz="1800" dirty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de-DE" altLang="de-DE" sz="1800" dirty="0" err="1">
                <a:solidFill>
                  <a:schemeClr val="tx2"/>
                </a:solidFill>
              </a:rPr>
              <a:t>Ambivalox</a:t>
            </a:r>
            <a:r>
              <a:rPr lang="de-DE" altLang="de-DE" sz="1800" dirty="0">
                <a:solidFill>
                  <a:schemeClr val="tx2"/>
                </a:solidFill>
              </a:rPr>
              <a:t>:</a:t>
            </a:r>
          </a:p>
          <a:p>
            <a:pPr>
              <a:lnSpc>
                <a:spcPct val="110000"/>
              </a:lnSpc>
            </a:pPr>
            <a:r>
              <a:rPr lang="de-DE" sz="1800" b="0" dirty="0">
                <a:solidFill>
                  <a:schemeClr val="tx2"/>
                </a:solidFill>
              </a:rPr>
              <a:t>     -</a:t>
            </a:r>
          </a:p>
          <a:p>
            <a:pPr lvl="1">
              <a:lnSpc>
                <a:spcPct val="110000"/>
              </a:lnSpc>
            </a:pPr>
            <a:r>
              <a:rPr lang="de-DE" sz="1800" dirty="0">
                <a:solidFill>
                  <a:schemeClr val="tx2"/>
                </a:solidFill>
              </a:rPr>
              <a:t>-          (s</a:t>
            </a:r>
            <a:r>
              <a:rPr lang="de-DE" altLang="de-DE" sz="1800" dirty="0">
                <a:solidFill>
                  <a:schemeClr val="tx2"/>
                </a:solidFill>
              </a:rPr>
              <a:t>ystematischer Einbezug &amp; kritische Perspektive, aber isolierter Faktor) </a:t>
            </a:r>
          </a:p>
          <a:p>
            <a:pPr>
              <a:lnSpc>
                <a:spcPct val="110000"/>
              </a:lnSpc>
            </a:pPr>
            <a:endParaRPr lang="de-DE" sz="1800" b="0" dirty="0">
              <a:solidFill>
                <a:schemeClr val="tx2"/>
              </a:solidFill>
            </a:endParaRPr>
          </a:p>
        </p:txBody>
      </p:sp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4CDD8EF1-D173-F32A-A894-AA3CC9677E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456" y="2170831"/>
            <a:ext cx="246600" cy="246600"/>
          </a:xfrm>
          <a:prstGeom prst="rect">
            <a:avLst/>
          </a:prstGeom>
        </p:spPr>
      </p:pic>
      <p:pic>
        <p:nvPicPr>
          <p:cNvPr id="8" name="Grafik 7" descr="Markee nicht mehr folgen mit einfarbiger Füllung">
            <a:extLst>
              <a:ext uri="{FF2B5EF4-FFF2-40B4-BE49-F238E27FC236}">
                <a16:creationId xmlns:a16="http://schemas.microsoft.com/office/drawing/2014/main" id="{F083A10B-6395-DBB7-59CA-135E43EAC6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5756" y="2423983"/>
            <a:ext cx="252000" cy="252000"/>
          </a:xfrm>
          <a:prstGeom prst="rect">
            <a:avLst/>
          </a:prstGeom>
        </p:spPr>
      </p:pic>
      <p:pic>
        <p:nvPicPr>
          <p:cNvPr id="9" name="Grafik 8" descr="Marke folgen mit einfarbiger Füllung">
            <a:extLst>
              <a:ext uri="{FF2B5EF4-FFF2-40B4-BE49-F238E27FC236}">
                <a16:creationId xmlns:a16="http://schemas.microsoft.com/office/drawing/2014/main" id="{0DE6BC20-E1E9-41F0-0731-29F49E15F2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4000" y="3921820"/>
            <a:ext cx="246600" cy="246600"/>
          </a:xfrm>
          <a:prstGeom prst="rect">
            <a:avLst/>
          </a:prstGeom>
        </p:spPr>
      </p:pic>
      <p:pic>
        <p:nvPicPr>
          <p:cNvPr id="10" name="Grafik 9" descr="Markee nicht mehr folgen mit einfarbiger Füllung">
            <a:extLst>
              <a:ext uri="{FF2B5EF4-FFF2-40B4-BE49-F238E27FC236}">
                <a16:creationId xmlns:a16="http://schemas.microsoft.com/office/drawing/2014/main" id="{7F437F4D-F0C7-189A-6322-18E2C526D4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970" y="4208210"/>
            <a:ext cx="252000" cy="25200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87A44B0-0398-F411-0962-4B73A51231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46242" y="1"/>
            <a:ext cx="997758" cy="98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273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8" y="405543"/>
            <a:ext cx="7868072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12) Modernisierung: Ende und/oder Neubeginn – Fazi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4" y="1854895"/>
            <a:ext cx="76761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Grundzüge von vier verschiedenen Positionen zu </a:t>
            </a:r>
            <a:r>
              <a:rPr lang="de-DE" sz="2000" b="1" dirty="0">
                <a:solidFill>
                  <a:schemeClr val="tx2"/>
                </a:solidFill>
              </a:rPr>
              <a:t>Ende</a:t>
            </a:r>
            <a:r>
              <a:rPr lang="de-DE" sz="2000" dirty="0">
                <a:solidFill>
                  <a:schemeClr val="tx2"/>
                </a:solidFill>
              </a:rPr>
              <a:t> und/</a:t>
            </a:r>
            <a:r>
              <a:rPr lang="de-DE" sz="2000" b="1" dirty="0">
                <a:solidFill>
                  <a:schemeClr val="tx2"/>
                </a:solidFill>
              </a:rPr>
              <a:t>oder Neubeginn der Moderne </a:t>
            </a:r>
            <a:r>
              <a:rPr lang="de-DE" sz="2000" dirty="0">
                <a:solidFill>
                  <a:schemeClr val="tx2"/>
                </a:solidFill>
              </a:rPr>
              <a:t>und können diese voneinander unterscheiden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kennen </a:t>
            </a:r>
            <a:r>
              <a:rPr lang="de-DE" sz="2000" b="1" dirty="0">
                <a:solidFill>
                  <a:schemeClr val="tx2"/>
                </a:solidFill>
              </a:rPr>
              <a:t>Grundzüge</a:t>
            </a:r>
            <a:r>
              <a:rPr lang="de-DE" sz="2000" dirty="0">
                <a:solidFill>
                  <a:schemeClr val="tx2"/>
                </a:solidFill>
              </a:rPr>
              <a:t> der sozialwissenschaftlichen Debatte über die </a:t>
            </a:r>
            <a:r>
              <a:rPr lang="de-DE" sz="2000" b="1" dirty="0">
                <a:solidFill>
                  <a:schemeClr val="tx2"/>
                </a:solidFill>
              </a:rPr>
              <a:t>Vielfalt der Moderne</a:t>
            </a:r>
            <a:r>
              <a:rPr lang="de-DE" sz="2000" dirty="0">
                <a:solidFill>
                  <a:schemeClr val="tx2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1165199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13) Zeitgenössische Gesellschaftstypen: In welcher Gesellschaft leben wir?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4" y="1854895"/>
            <a:ext cx="767614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wissen, was </a:t>
            </a:r>
            <a:r>
              <a:rPr lang="de-DE" sz="2000" b="1" dirty="0">
                <a:solidFill>
                  <a:schemeClr val="tx2"/>
                </a:solidFill>
              </a:rPr>
              <a:t>Gesellschaftsdiagnosen</a:t>
            </a:r>
            <a:r>
              <a:rPr lang="de-DE" sz="2000" dirty="0">
                <a:solidFill>
                  <a:schemeClr val="tx2"/>
                </a:solidFill>
              </a:rPr>
              <a:t> sind, welche </a:t>
            </a:r>
            <a:r>
              <a:rPr lang="de-DE" sz="2000" b="1" dirty="0">
                <a:solidFill>
                  <a:schemeClr val="tx2"/>
                </a:solidFill>
              </a:rPr>
              <a:t>Vor- und Nachteile</a:t>
            </a:r>
            <a:r>
              <a:rPr lang="de-DE" sz="2000" dirty="0">
                <a:solidFill>
                  <a:schemeClr val="tx2"/>
                </a:solidFill>
              </a:rPr>
              <a:t> sie haben und </a:t>
            </a:r>
            <a:r>
              <a:rPr lang="de-DE" sz="2000" b="1" dirty="0">
                <a:solidFill>
                  <a:schemeClr val="tx2"/>
                </a:solidFill>
              </a:rPr>
              <a:t>welchen Zweck </a:t>
            </a:r>
            <a:r>
              <a:rPr lang="de-DE" sz="2000" dirty="0">
                <a:solidFill>
                  <a:schemeClr val="tx2"/>
                </a:solidFill>
              </a:rPr>
              <a:t>diese in der Wissenschaftskommunikation erfüllen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</a:t>
            </a:r>
            <a:r>
              <a:rPr lang="de-DE" sz="2000" b="1" dirty="0">
                <a:solidFill>
                  <a:schemeClr val="tx2"/>
                </a:solidFill>
              </a:rPr>
              <a:t>kennen</a:t>
            </a:r>
            <a:r>
              <a:rPr lang="de-DE" sz="2000" dirty="0">
                <a:solidFill>
                  <a:schemeClr val="tx2"/>
                </a:solidFill>
              </a:rPr>
              <a:t> verschiedene Gesellschaftsdiagnosen der </a:t>
            </a:r>
            <a:r>
              <a:rPr lang="de-DE" sz="2000" b="1" dirty="0">
                <a:solidFill>
                  <a:schemeClr val="tx2"/>
                </a:solidFill>
              </a:rPr>
              <a:t>'Bindestrichgesellschaft</a:t>
            </a:r>
            <a:r>
              <a:rPr lang="de-DE" sz="2000" dirty="0">
                <a:solidFill>
                  <a:schemeClr val="tx2"/>
                </a:solidFill>
              </a:rPr>
              <a:t>‘ und können </a:t>
            </a:r>
            <a:r>
              <a:rPr lang="de-DE" sz="2000" b="1" dirty="0">
                <a:solidFill>
                  <a:schemeClr val="tx2"/>
                </a:solidFill>
              </a:rPr>
              <a:t>ausgewählte</a:t>
            </a:r>
            <a:r>
              <a:rPr lang="de-DE" sz="2000" dirty="0">
                <a:solidFill>
                  <a:schemeClr val="tx2"/>
                </a:solidFill>
              </a:rPr>
              <a:t> </a:t>
            </a:r>
            <a:r>
              <a:rPr lang="de-DE" sz="2000" b="1" dirty="0">
                <a:solidFill>
                  <a:schemeClr val="tx2"/>
                </a:solidFill>
              </a:rPr>
              <a:t>Gesellschaftsdiagnosen</a:t>
            </a:r>
            <a:r>
              <a:rPr lang="de-DE" sz="2000" dirty="0">
                <a:solidFill>
                  <a:schemeClr val="tx2"/>
                </a:solidFill>
              </a:rPr>
              <a:t> näher beschreiben.</a:t>
            </a:r>
          </a:p>
        </p:txBody>
      </p:sp>
    </p:spTree>
    <p:extLst>
      <p:ext uri="{BB962C8B-B14F-4D97-AF65-F5344CB8AC3E}">
        <p14:creationId xmlns:p14="http://schemas.microsoft.com/office/powerpoint/2010/main" val="166544533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6691"/>
            <a:ext cx="7560000" cy="468000"/>
          </a:xfrm>
        </p:spPr>
        <p:txBody>
          <a:bodyPr/>
          <a:lstStyle/>
          <a:p>
            <a:r>
              <a:rPr lang="de-DE" dirty="0"/>
              <a:t>Gesellschaftsdiagnose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700" y="683385"/>
            <a:ext cx="8659897" cy="1435213"/>
          </a:xfrm>
        </p:spPr>
        <p:txBody>
          <a:bodyPr numCol="2"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Ziel: </a:t>
            </a:r>
            <a:r>
              <a:rPr lang="de-DE" sz="1800" dirty="0"/>
              <a:t>Charakteristische</a:t>
            </a:r>
            <a:r>
              <a:rPr lang="de-DE" sz="1800" b="0" dirty="0"/>
              <a:t> einer </a:t>
            </a:r>
            <a:r>
              <a:rPr lang="de-DE" sz="1800" dirty="0"/>
              <a:t>Gesellschaft auf den Punkt bringen </a:t>
            </a:r>
            <a:endParaRPr lang="de-DE" sz="1800" b="0" dirty="0"/>
          </a:p>
          <a:p>
            <a:pPr lvl="2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800" b="1" dirty="0"/>
          </a:p>
          <a:p>
            <a:pPr lvl="2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800" b="1" dirty="0"/>
          </a:p>
          <a:p>
            <a:pPr marL="285750" lvl="1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Wissenschafts-Gesellschaft</a:t>
            </a:r>
          </a:p>
          <a:p>
            <a:pPr marL="285750" lvl="1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Erlebnis-Gesellschaft</a:t>
            </a:r>
          </a:p>
          <a:p>
            <a:pPr marL="285750" lvl="1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Alternde-Gesellschaft</a:t>
            </a:r>
          </a:p>
          <a:p>
            <a:pPr marL="285750" lvl="1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Medien-Gesellschaft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6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Sprechblase: rechteckig mit abgerundeten Ecken 5">
            <a:extLst>
              <a:ext uri="{FF2B5EF4-FFF2-40B4-BE49-F238E27FC236}">
                <a16:creationId xmlns:a16="http://schemas.microsoft.com/office/drawing/2014/main" id="{98E50636-68BE-EE0C-5CD6-C493DBC0B795}"/>
              </a:ext>
            </a:extLst>
          </p:cNvPr>
          <p:cNvSpPr/>
          <p:nvPr/>
        </p:nvSpPr>
        <p:spPr>
          <a:xfrm>
            <a:off x="5015964" y="182429"/>
            <a:ext cx="2214168" cy="331011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0" dirty="0"/>
              <a:t>„Bindestrichgesellschaft“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219F324-C2D7-F78C-A6D1-DB4674510008}"/>
              </a:ext>
            </a:extLst>
          </p:cNvPr>
          <p:cNvSpPr txBox="1"/>
          <p:nvPr/>
        </p:nvSpPr>
        <p:spPr>
          <a:xfrm>
            <a:off x="400619" y="2171640"/>
            <a:ext cx="76947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Drei Sektoren Hypothese (</a:t>
            </a:r>
            <a:r>
              <a:rPr lang="de-DE" sz="2000" dirty="0" err="1">
                <a:solidFill>
                  <a:schemeClr val="tx2"/>
                </a:solidFill>
              </a:rPr>
              <a:t>Fourastie</a:t>
            </a:r>
            <a:r>
              <a:rPr lang="de-DE" sz="2000" dirty="0">
                <a:solidFill>
                  <a:schemeClr val="tx2"/>
                </a:solidFill>
              </a:rPr>
              <a:t>)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4AD2665-DD5F-80B3-461D-27EE79A96F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1691" y="2118598"/>
            <a:ext cx="3012035" cy="2295516"/>
          </a:xfrm>
          <a:prstGeom prst="rect">
            <a:avLst/>
          </a:prstGeom>
        </p:spPr>
      </p:pic>
      <p:graphicFrame>
        <p:nvGraphicFramePr>
          <p:cNvPr id="10" name="Tabelle 6">
            <a:extLst>
              <a:ext uri="{FF2B5EF4-FFF2-40B4-BE49-F238E27FC236}">
                <a16:creationId xmlns:a16="http://schemas.microsoft.com/office/drawing/2014/main" id="{BD75072E-F5D8-A51B-077C-983F233AC6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7091410"/>
              </p:ext>
            </p:extLst>
          </p:nvPr>
        </p:nvGraphicFramePr>
        <p:xfrm>
          <a:off x="468000" y="2620707"/>
          <a:ext cx="4596401" cy="16062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2307">
                  <a:extLst>
                    <a:ext uri="{9D8B030D-6E8A-4147-A177-3AD203B41FA5}">
                      <a16:colId xmlns:a16="http://schemas.microsoft.com/office/drawing/2014/main" val="3706981817"/>
                    </a:ext>
                  </a:extLst>
                </a:gridCol>
                <a:gridCol w="2524094">
                  <a:extLst>
                    <a:ext uri="{9D8B030D-6E8A-4147-A177-3AD203B41FA5}">
                      <a16:colId xmlns:a16="http://schemas.microsoft.com/office/drawing/2014/main" val="3679452227"/>
                    </a:ext>
                  </a:extLst>
                </a:gridCol>
              </a:tblGrid>
              <a:tr h="362718">
                <a:tc>
                  <a:txBody>
                    <a:bodyPr/>
                    <a:lstStyle/>
                    <a:p>
                      <a:r>
                        <a:rPr lang="de-DE" sz="1500" dirty="0"/>
                        <a:t>Sek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500" dirty="0"/>
                        <a:t>Gesellschaftsty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4683305"/>
                  </a:ext>
                </a:extLst>
              </a:tr>
              <a:tr h="441194">
                <a:tc>
                  <a:txBody>
                    <a:bodyPr/>
                    <a:lstStyle/>
                    <a:p>
                      <a:r>
                        <a:rPr lang="de-DE" sz="1500" dirty="0"/>
                        <a:t>1. Primärer Sek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8676918"/>
                  </a:ext>
                </a:extLst>
              </a:tr>
              <a:tr h="420360">
                <a:tc>
                  <a:txBody>
                    <a:bodyPr/>
                    <a:lstStyle/>
                    <a:p>
                      <a:r>
                        <a:rPr lang="de-DE" sz="1500" dirty="0"/>
                        <a:t>2. Sekundärer Sek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065444"/>
                  </a:ext>
                </a:extLst>
              </a:tr>
              <a:tr h="381964">
                <a:tc>
                  <a:txBody>
                    <a:bodyPr/>
                    <a:lstStyle/>
                    <a:p>
                      <a:r>
                        <a:rPr lang="de-DE" sz="1500" dirty="0"/>
                        <a:t>3. Tertiärer Sek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224625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5B031D6-F928-CA22-A95F-5DC9D799419E}"/>
              </a:ext>
            </a:extLst>
          </p:cNvPr>
          <p:cNvSpPr txBox="1"/>
          <p:nvPr/>
        </p:nvSpPr>
        <p:spPr>
          <a:xfrm>
            <a:off x="2599417" y="3042153"/>
            <a:ext cx="2088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Agrargesellschaft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668E8AF-B5F8-5101-CFA3-1A0B39CBEA05}"/>
              </a:ext>
            </a:extLst>
          </p:cNvPr>
          <p:cNvSpPr txBox="1"/>
          <p:nvPr/>
        </p:nvSpPr>
        <p:spPr>
          <a:xfrm>
            <a:off x="2599417" y="3480659"/>
            <a:ext cx="2088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ndustriegesellschaf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B88796A-1829-BD26-83ED-E9FB74489086}"/>
              </a:ext>
            </a:extLst>
          </p:cNvPr>
          <p:cNvSpPr txBox="1"/>
          <p:nvPr/>
        </p:nvSpPr>
        <p:spPr>
          <a:xfrm>
            <a:off x="2594295" y="3874987"/>
            <a:ext cx="26673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Dienstleistungsgesellschaft </a:t>
            </a:r>
          </a:p>
          <a:p>
            <a:endParaRPr lang="de-DE" sz="1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2F37B17-A543-3C78-7FC1-AE1B304AFEBA}"/>
              </a:ext>
            </a:extLst>
          </p:cNvPr>
          <p:cNvCxnSpPr>
            <a:cxnSpLocks/>
          </p:cNvCxnSpPr>
          <p:nvPr/>
        </p:nvCxnSpPr>
        <p:spPr>
          <a:xfrm>
            <a:off x="224287" y="2070340"/>
            <a:ext cx="8793310" cy="2531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2998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78861A5F-F8D4-6F4D-1B91-6677727109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9486" y="-46121"/>
            <a:ext cx="1677837" cy="127870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b="0" dirty="0"/>
              <a:t>Drei Sektoren Hypothese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864000"/>
            <a:ext cx="8851018" cy="3601027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accent2"/>
                </a:solidFill>
              </a:rPr>
              <a:t>Verschiebung</a:t>
            </a:r>
            <a:r>
              <a:rPr lang="de-DE" sz="1800" b="0" dirty="0"/>
              <a:t> der gesell. </a:t>
            </a:r>
            <a:r>
              <a:rPr lang="de-DE" sz="1800" b="0" dirty="0">
                <a:solidFill>
                  <a:schemeClr val="accent2"/>
                </a:solidFill>
              </a:rPr>
              <a:t>Wertschöpfung</a:t>
            </a:r>
            <a:r>
              <a:rPr lang="de-DE" sz="1800" b="0" dirty="0"/>
              <a:t> vom                                                          primären </a:t>
            </a:r>
            <a:r>
              <a:rPr lang="de-DE" sz="1800" b="0" dirty="0">
                <a:sym typeface="Wingdings" panose="05000000000000000000" pitchFamily="2" charset="2"/>
              </a:rPr>
              <a:t></a:t>
            </a:r>
            <a:r>
              <a:rPr lang="de-DE" sz="1800" b="0" dirty="0"/>
              <a:t> zum sekundären </a:t>
            </a:r>
            <a:r>
              <a:rPr lang="de-DE" sz="1800" b="0" dirty="0">
                <a:sym typeface="Wingdings" panose="05000000000000000000" pitchFamily="2" charset="2"/>
              </a:rPr>
              <a:t></a:t>
            </a:r>
            <a:r>
              <a:rPr lang="de-DE" sz="1800" b="0" dirty="0"/>
              <a:t> hin zum Dienstleistungssektor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„Tertiärisierung der Beschäftigung“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Warum: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Technischer Fortschritt &amp; Rationalisierung </a:t>
            </a:r>
            <a:r>
              <a:rPr lang="de-DE" sz="1800" b="0" dirty="0">
                <a:sym typeface="Wingdings" panose="05000000000000000000" pitchFamily="2" charset="2"/>
              </a:rPr>
              <a:t> steigern </a:t>
            </a:r>
            <a:r>
              <a:rPr lang="de-DE" sz="1800" dirty="0">
                <a:sym typeface="Wingdings" panose="05000000000000000000" pitchFamily="2" charset="2"/>
              </a:rPr>
              <a:t>Produktionskapazität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i="1" dirty="0">
                <a:sym typeface="Wingdings" panose="05000000000000000000" pitchFamily="2" charset="2"/>
              </a:rPr>
              <a:t>Mehr </a:t>
            </a:r>
            <a:r>
              <a:rPr lang="de-DE" sz="1800" i="1" dirty="0">
                <a:sym typeface="Wingdings" panose="05000000000000000000" pitchFamily="2" charset="2"/>
              </a:rPr>
              <a:t>günstige Massenproduktion </a:t>
            </a:r>
            <a:r>
              <a:rPr lang="de-DE" sz="1800" b="0" i="1" dirty="0">
                <a:sym typeface="Wingdings" panose="05000000000000000000" pitchFamily="2" charset="2"/>
              </a:rPr>
              <a:t>von Gütern</a:t>
            </a:r>
            <a:endParaRPr lang="de-DE" sz="1800" b="0" i="1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Folge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Sättigungsprozess</a:t>
            </a:r>
            <a:r>
              <a:rPr lang="de-DE" sz="1600" b="0" dirty="0"/>
              <a:t> von Gütern </a:t>
            </a:r>
            <a:r>
              <a:rPr lang="de-DE" sz="1600" b="0" dirty="0">
                <a:sym typeface="Wingdings" panose="05000000000000000000" pitchFamily="2" charset="2"/>
              </a:rPr>
              <a:t> Bedürfniswandel  </a:t>
            </a:r>
            <a:r>
              <a:rPr lang="de-DE" sz="1600" dirty="0">
                <a:sym typeface="Wingdings" panose="05000000000000000000" pitchFamily="2" charset="2"/>
              </a:rPr>
              <a:t>Wunsch nach </a:t>
            </a:r>
            <a:r>
              <a:rPr lang="de-DE" sz="1600" b="0" dirty="0">
                <a:sym typeface="Wingdings" panose="05000000000000000000" pitchFamily="2" charset="2"/>
              </a:rPr>
              <a:t>mehr</a:t>
            </a:r>
            <a:r>
              <a:rPr lang="de-DE" sz="1600" dirty="0">
                <a:sym typeface="Wingdings" panose="05000000000000000000" pitchFamily="2" charset="2"/>
              </a:rPr>
              <a:t> Dienstleistungen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Entlastung der Gesellschaft &amp; höhere Bedürfnisse (End-Typus: Tertiäre Zivilisation)</a:t>
            </a: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                                           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7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25136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14) Demographie: Fertilität, Mortalität und Migratio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4" y="1854895"/>
            <a:ext cx="76761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önnen </a:t>
            </a:r>
            <a:r>
              <a:rPr lang="de-DE" sz="2000" b="1" dirty="0">
                <a:solidFill>
                  <a:schemeClr val="tx2"/>
                </a:solidFill>
              </a:rPr>
              <a:t>'Bevölkerung‘ definieren </a:t>
            </a:r>
            <a:r>
              <a:rPr lang="de-DE" sz="2000" dirty="0">
                <a:solidFill>
                  <a:schemeClr val="tx2"/>
                </a:solidFill>
              </a:rPr>
              <a:t>und kennen die </a:t>
            </a:r>
            <a:r>
              <a:rPr lang="de-DE" sz="2000" b="1" dirty="0">
                <a:solidFill>
                  <a:schemeClr val="tx2"/>
                </a:solidFill>
              </a:rPr>
              <a:t>aktuelle</a:t>
            </a:r>
            <a:r>
              <a:rPr lang="de-DE" sz="2000" dirty="0">
                <a:solidFill>
                  <a:schemeClr val="tx2"/>
                </a:solidFill>
              </a:rPr>
              <a:t> </a:t>
            </a:r>
            <a:r>
              <a:rPr lang="de-DE" sz="2000" b="1" dirty="0">
                <a:solidFill>
                  <a:schemeClr val="tx2"/>
                </a:solidFill>
              </a:rPr>
              <a:t>Bevölkerungsgröße</a:t>
            </a:r>
            <a:r>
              <a:rPr lang="de-DE" sz="2000" dirty="0">
                <a:solidFill>
                  <a:schemeClr val="tx2"/>
                </a:solidFill>
              </a:rPr>
              <a:t> Deutschlands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kennen die </a:t>
            </a:r>
            <a:r>
              <a:rPr lang="de-DE" sz="2000" b="1" dirty="0">
                <a:solidFill>
                  <a:schemeClr val="tx2"/>
                </a:solidFill>
              </a:rPr>
              <a:t>Haupttrends</a:t>
            </a:r>
            <a:r>
              <a:rPr lang="de-DE" sz="2000" dirty="0">
                <a:solidFill>
                  <a:schemeClr val="tx2"/>
                </a:solidFill>
              </a:rPr>
              <a:t> des </a:t>
            </a:r>
            <a:r>
              <a:rPr lang="de-DE" sz="2000" b="1" dirty="0">
                <a:solidFill>
                  <a:schemeClr val="tx2"/>
                </a:solidFill>
              </a:rPr>
              <a:t>demographischen Wandels </a:t>
            </a:r>
            <a:r>
              <a:rPr lang="de-DE" sz="2000" dirty="0">
                <a:solidFill>
                  <a:schemeClr val="tx2"/>
                </a:solidFill>
              </a:rPr>
              <a:t>- </a:t>
            </a:r>
            <a:r>
              <a:rPr lang="de-DE" sz="2000" b="1" dirty="0">
                <a:solidFill>
                  <a:schemeClr val="tx2"/>
                </a:solidFill>
              </a:rPr>
              <a:t>Geburtenrückgang, Alterung und Migration </a:t>
            </a:r>
            <a:r>
              <a:rPr lang="de-DE" sz="2000" dirty="0">
                <a:solidFill>
                  <a:schemeClr val="tx2"/>
                </a:solidFill>
              </a:rPr>
              <a:t>- und können diese beschreiben und erläutern</a:t>
            </a:r>
          </a:p>
        </p:txBody>
      </p:sp>
    </p:spTree>
    <p:extLst>
      <p:ext uri="{BB962C8B-B14F-4D97-AF65-F5344CB8AC3E}">
        <p14:creationId xmlns:p14="http://schemas.microsoft.com/office/powerpoint/2010/main" val="272546604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Bevölkerung: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000" y="1042974"/>
            <a:ext cx="8659897" cy="360102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highlight>
                  <a:srgbClr val="FFFF00"/>
                </a:highlight>
              </a:rPr>
              <a:t>DEF</a:t>
            </a:r>
            <a:r>
              <a:rPr lang="de-DE" sz="1800" dirty="0"/>
              <a:t> = alle Einwohner*innen</a:t>
            </a:r>
            <a:r>
              <a:rPr lang="de-DE" sz="1800" b="0" dirty="0"/>
              <a:t>, die mit ihrem </a:t>
            </a:r>
            <a:r>
              <a:rPr lang="de-DE" sz="1800" dirty="0"/>
              <a:t>Hauptwohnsitz</a:t>
            </a:r>
            <a:r>
              <a:rPr lang="de-DE" sz="1800" b="0" dirty="0"/>
              <a:t> in der </a:t>
            </a:r>
            <a:r>
              <a:rPr lang="de-DE" sz="1800" dirty="0"/>
              <a:t>BRD</a:t>
            </a:r>
            <a:r>
              <a:rPr lang="de-DE" sz="1800" b="0" dirty="0"/>
              <a:t> gemeldet sind, </a:t>
            </a:r>
            <a:r>
              <a:rPr lang="de-DE" sz="1800" dirty="0"/>
              <a:t>unabhängig</a:t>
            </a:r>
            <a:r>
              <a:rPr lang="de-DE" sz="1800" b="0" dirty="0"/>
              <a:t> von ihrer </a:t>
            </a:r>
            <a:r>
              <a:rPr lang="de-DE" sz="1800" dirty="0"/>
              <a:t>Staatsangehörigkeit</a:t>
            </a:r>
            <a:r>
              <a:rPr lang="de-DE" sz="1800" b="0" dirty="0"/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Aktuell: 84.079 811 Mio. Mensch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                                           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9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6" name="Tabelle 7">
            <a:extLst>
              <a:ext uri="{FF2B5EF4-FFF2-40B4-BE49-F238E27FC236}">
                <a16:creationId xmlns:a16="http://schemas.microsoft.com/office/drawing/2014/main" id="{7AC6F69A-76F4-6795-ACC6-67D05ECDBA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99743"/>
              </p:ext>
            </p:extLst>
          </p:nvPr>
        </p:nvGraphicFramePr>
        <p:xfrm>
          <a:off x="234551" y="1987028"/>
          <a:ext cx="8814079" cy="24532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0220">
                  <a:extLst>
                    <a:ext uri="{9D8B030D-6E8A-4147-A177-3AD203B41FA5}">
                      <a16:colId xmlns:a16="http://schemas.microsoft.com/office/drawing/2014/main" val="3885459243"/>
                    </a:ext>
                  </a:extLst>
                </a:gridCol>
                <a:gridCol w="2927142">
                  <a:extLst>
                    <a:ext uri="{9D8B030D-6E8A-4147-A177-3AD203B41FA5}">
                      <a16:colId xmlns:a16="http://schemas.microsoft.com/office/drawing/2014/main" val="3221649549"/>
                    </a:ext>
                  </a:extLst>
                </a:gridCol>
                <a:gridCol w="3036717">
                  <a:extLst>
                    <a:ext uri="{9D8B030D-6E8A-4147-A177-3AD203B41FA5}">
                      <a16:colId xmlns:a16="http://schemas.microsoft.com/office/drawing/2014/main" val="3389064661"/>
                    </a:ext>
                  </a:extLst>
                </a:gridCol>
              </a:tblGrid>
              <a:tr h="373859">
                <a:tc>
                  <a:txBody>
                    <a:bodyPr/>
                    <a:lstStyle/>
                    <a:p>
                      <a:r>
                        <a:rPr lang="de-DE" sz="1600" dirty="0"/>
                        <a:t>1. Gebur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2. Sterbefäl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3. Wanderun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8391150"/>
                  </a:ext>
                </a:extLst>
              </a:tr>
              <a:tr h="207943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/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/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/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700" dirty="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8639863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279AAF28-810A-B8AF-8D5A-8A9B801A9C8C}"/>
              </a:ext>
            </a:extLst>
          </p:cNvPr>
          <p:cNvSpPr txBox="1"/>
          <p:nvPr/>
        </p:nvSpPr>
        <p:spPr>
          <a:xfrm>
            <a:off x="160025" y="2401582"/>
            <a:ext cx="298719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Relative Geburtenhäufigkeit = </a:t>
            </a:r>
            <a:r>
              <a:rPr lang="de-DE" sz="1200" b="1" dirty="0"/>
              <a:t>Durchschnittliche Anzahl </a:t>
            </a:r>
            <a:r>
              <a:rPr lang="de-DE" sz="1200" dirty="0"/>
              <a:t>pro Fra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Kontinuierlicher &amp; starker Rück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Rund </a:t>
            </a:r>
            <a:r>
              <a:rPr lang="de-DE" sz="1200" b="1" dirty="0"/>
              <a:t>1,54 Kinde</a:t>
            </a:r>
            <a:r>
              <a:rPr lang="de-DE" sz="1200" dirty="0"/>
              <a:t>r </a:t>
            </a:r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b="1" dirty="0">
                <a:sym typeface="Wingdings" panose="05000000000000000000" pitchFamily="2" charset="2"/>
              </a:rPr>
              <a:t>unterhalb</a:t>
            </a:r>
            <a:r>
              <a:rPr lang="de-DE" sz="1200" dirty="0">
                <a:sym typeface="Wingdings" panose="05000000000000000000" pitchFamily="2" charset="2"/>
              </a:rPr>
              <a:t> des </a:t>
            </a:r>
            <a:r>
              <a:rPr lang="de-DE" sz="1200" b="1" dirty="0">
                <a:sym typeface="Wingdings" panose="05000000000000000000" pitchFamily="2" charset="2"/>
              </a:rPr>
              <a:t>Bestanderhaltungsniveaus</a:t>
            </a:r>
            <a:r>
              <a:rPr lang="de-DE" sz="12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Von </a:t>
            </a:r>
            <a:r>
              <a:rPr lang="de-DE" sz="1200" dirty="0" err="1"/>
              <a:t>Mehrkindfamilien</a:t>
            </a:r>
            <a:r>
              <a:rPr lang="de-DE" sz="1200" dirty="0"/>
              <a:t> z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 </a:t>
            </a:r>
            <a:r>
              <a:rPr lang="de-DE" sz="1200" b="1" dirty="0" err="1"/>
              <a:t>Einkindfamilien</a:t>
            </a:r>
            <a:r>
              <a:rPr lang="de-DE" sz="1200" dirty="0"/>
              <a:t> oder </a:t>
            </a:r>
            <a:r>
              <a:rPr lang="de-DE" sz="1200" b="1" dirty="0"/>
              <a:t>Kinderlosigk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Lebensbedingungen gegen (viele) Kinder 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7ED06E6-C25C-C70A-39B2-34C6B19326F3}"/>
              </a:ext>
            </a:extLst>
          </p:cNvPr>
          <p:cNvSpPr txBox="1"/>
          <p:nvPr/>
        </p:nvSpPr>
        <p:spPr>
          <a:xfrm>
            <a:off x="5878386" y="2366593"/>
            <a:ext cx="3440694" cy="2331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= Wanderungen im geographischen &amp; sozialem Raum mit Wohnsitzwechs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50" b="1" dirty="0"/>
              <a:t>Binnen/</a:t>
            </a:r>
            <a:r>
              <a:rPr lang="de-DE" sz="1050" b="1" dirty="0" err="1"/>
              <a:t>Rotations</a:t>
            </a:r>
            <a:r>
              <a:rPr lang="de-DE" sz="1050" b="1" dirty="0"/>
              <a:t>/Transnationale Mi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Push-Faktoren</a:t>
            </a:r>
            <a:r>
              <a:rPr lang="de-DE" sz="1200" dirty="0"/>
              <a:t> (= schlechte Umstände                im Herkunftsland, wie Krieg/ Armu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Pull-Faktoren</a:t>
            </a:r>
            <a:r>
              <a:rPr lang="de-DE" sz="1200" dirty="0"/>
              <a:t> (</a:t>
            </a:r>
            <a:r>
              <a:rPr lang="de-DE" sz="1200" b="1" dirty="0"/>
              <a:t>Attraktive Umstände </a:t>
            </a:r>
            <a:r>
              <a:rPr lang="de-DE" sz="1200" dirty="0"/>
              <a:t>im Aufnahmeland, wie Stabilität, Fürsorgeleistung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Herausforderungen: </a:t>
            </a:r>
            <a:r>
              <a:rPr lang="de-DE" sz="1200" b="1" dirty="0"/>
              <a:t>Qualifikations-</a:t>
            </a:r>
            <a:r>
              <a:rPr lang="de-DE" sz="1200" dirty="0"/>
              <a:t>                        </a:t>
            </a:r>
            <a:r>
              <a:rPr lang="de-DE" sz="1200" b="1" dirty="0" err="1"/>
              <a:t>transfer</a:t>
            </a:r>
            <a:r>
              <a:rPr lang="de-DE" sz="1200" b="1" dirty="0"/>
              <a:t>, schlechtere Chancen </a:t>
            </a:r>
            <a:r>
              <a:rPr lang="de-DE" sz="1200" dirty="0"/>
              <a:t>in                      Schule &amp; Arbeitsmarkt</a:t>
            </a:r>
          </a:p>
          <a:p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9F00198-23D7-B9D6-D383-9CCAB9D9A649}"/>
              </a:ext>
            </a:extLst>
          </p:cNvPr>
          <p:cNvSpPr txBox="1"/>
          <p:nvPr/>
        </p:nvSpPr>
        <p:spPr>
          <a:xfrm>
            <a:off x="2936502" y="2401582"/>
            <a:ext cx="3113437" cy="2146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Zunehmende Lebenserwar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Ursachen: Medizinische Versorgung, Fürsorgesystem, Arbeitsbedingungen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Trend: „</a:t>
            </a:r>
            <a:r>
              <a:rPr lang="de-DE" sz="1200" b="1" dirty="0"/>
              <a:t>Demografischer Wandel</a:t>
            </a:r>
            <a:r>
              <a:rPr lang="de-DE" sz="1200" dirty="0"/>
              <a:t>“, von Pyramidenform zur </a:t>
            </a:r>
            <a:r>
              <a:rPr lang="de-DE" sz="1200" b="1" dirty="0"/>
              <a:t>Glocken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tarker </a:t>
            </a:r>
            <a:r>
              <a:rPr lang="de-DE" sz="1200" b="1" dirty="0"/>
              <a:t>Anstieg</a:t>
            </a:r>
            <a:r>
              <a:rPr lang="de-DE" sz="1200" dirty="0"/>
              <a:t> des </a:t>
            </a:r>
            <a:r>
              <a:rPr lang="de-DE" sz="1200" b="1" dirty="0"/>
              <a:t>Altenquotienten</a:t>
            </a:r>
            <a:r>
              <a:rPr lang="de-DE" sz="1200" dirty="0"/>
              <a:t> und sinkender Jugendquotient  </a:t>
            </a:r>
            <a:r>
              <a:rPr lang="de-DE" sz="1200" dirty="0">
                <a:sym typeface="Wingdings" panose="05000000000000000000" pitchFamily="2" charset="2"/>
              </a:rPr>
              <a:t> Folgen: </a:t>
            </a:r>
            <a:r>
              <a:rPr lang="de-DE" sz="1200" dirty="0"/>
              <a:t>Arbeitskräftemangel, Gefährdung </a:t>
            </a:r>
            <a:r>
              <a:rPr lang="de-DE" sz="1200" b="1" dirty="0"/>
              <a:t>Generationsvertrag, </a:t>
            </a:r>
            <a:r>
              <a:rPr lang="de-DE" sz="1200" dirty="0"/>
              <a:t>Herrschaft der Alt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9236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2011" y="444731"/>
            <a:ext cx="8365523" cy="1790700"/>
          </a:xfrm>
        </p:spPr>
        <p:txBody>
          <a:bodyPr>
            <a:noAutofit/>
          </a:bodyPr>
          <a:lstStyle/>
          <a:p>
            <a:br>
              <a:rPr lang="de-DE" sz="2800" b="1" i="1" dirty="0"/>
            </a:br>
            <a:r>
              <a:rPr lang="de-DE" sz="2800" b="1" i="1" dirty="0">
                <a:solidFill>
                  <a:srgbClr val="002060"/>
                </a:solidFill>
              </a:rPr>
              <a:t>(1) Sozialstrukturanalyse der modernen Gesellschaft</a:t>
            </a:r>
            <a:endParaRPr lang="de-DE" sz="3300" b="1" i="1" dirty="0">
              <a:solidFill>
                <a:srgbClr val="00206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45959" y="2571750"/>
            <a:ext cx="7676147" cy="1540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dirty="0">
                <a:solidFill>
                  <a:srgbClr val="002060"/>
                </a:solidFill>
                <a:latin typeface="-apple-system"/>
              </a:rPr>
              <a:t>(1) Sie kennen </a:t>
            </a:r>
            <a:r>
              <a:rPr lang="de-DE" sz="2100" b="1" dirty="0">
                <a:solidFill>
                  <a:srgbClr val="002060"/>
                </a:solidFill>
                <a:latin typeface="-apple-system"/>
              </a:rPr>
              <a:t>Kennzeichen</a:t>
            </a:r>
            <a:r>
              <a:rPr lang="de-DE" sz="2100" dirty="0">
                <a:solidFill>
                  <a:srgbClr val="002060"/>
                </a:solidFill>
                <a:latin typeface="-apple-system"/>
              </a:rPr>
              <a:t> einer </a:t>
            </a:r>
            <a:r>
              <a:rPr lang="de-DE" sz="2100" b="1" dirty="0">
                <a:solidFill>
                  <a:srgbClr val="002060"/>
                </a:solidFill>
                <a:latin typeface="-apple-system"/>
              </a:rPr>
              <a:t>modernen Gesellschaft </a:t>
            </a:r>
            <a:r>
              <a:rPr lang="de-DE" sz="2100" dirty="0">
                <a:solidFill>
                  <a:srgbClr val="002060"/>
                </a:solidFill>
                <a:latin typeface="-apple-system"/>
              </a:rPr>
              <a:t>und ihrer </a:t>
            </a:r>
            <a:r>
              <a:rPr lang="de-DE" sz="2100" b="1" dirty="0">
                <a:solidFill>
                  <a:srgbClr val="002060"/>
                </a:solidFill>
                <a:latin typeface="-apple-system"/>
              </a:rPr>
              <a:t>Staatsform</a:t>
            </a:r>
            <a:r>
              <a:rPr lang="de-DE" sz="2100" dirty="0">
                <a:solidFill>
                  <a:srgbClr val="002060"/>
                </a:solidFill>
                <a:latin typeface="-apple-system"/>
              </a:rPr>
              <a:t>.</a:t>
            </a:r>
          </a:p>
          <a:p>
            <a:r>
              <a:rPr lang="de-DE" sz="2100" dirty="0">
                <a:solidFill>
                  <a:srgbClr val="002060"/>
                </a:solidFill>
                <a:latin typeface="-apple-system"/>
              </a:rPr>
              <a:t>(2) Sie kennen ein </a:t>
            </a:r>
            <a:r>
              <a:rPr lang="de-DE" sz="2100" b="1" dirty="0">
                <a:solidFill>
                  <a:srgbClr val="002060"/>
                </a:solidFill>
                <a:latin typeface="-apple-system"/>
              </a:rPr>
              <a:t>idealtypisches Epochenschema </a:t>
            </a:r>
            <a:r>
              <a:rPr lang="de-DE" sz="2100" dirty="0">
                <a:solidFill>
                  <a:srgbClr val="002060"/>
                </a:solidFill>
                <a:latin typeface="-apple-system"/>
              </a:rPr>
              <a:t>der Moderne und können den verschiedenen Epochen </a:t>
            </a:r>
            <a:r>
              <a:rPr lang="de-DE" sz="2100" b="1" dirty="0">
                <a:solidFill>
                  <a:srgbClr val="002060"/>
                </a:solidFill>
                <a:latin typeface="-apple-system"/>
              </a:rPr>
              <a:t>geopolitische Räume </a:t>
            </a:r>
            <a:r>
              <a:rPr lang="de-DE" sz="2100" dirty="0">
                <a:solidFill>
                  <a:srgbClr val="002060"/>
                </a:solidFill>
                <a:latin typeface="-apple-system"/>
              </a:rPr>
              <a:t>zuordnen.</a:t>
            </a:r>
          </a:p>
          <a:p>
            <a:endParaRPr lang="de-DE" sz="1013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11FD748-3C80-85D0-CF64-853DA04775B1}"/>
              </a:ext>
            </a:extLst>
          </p:cNvPr>
          <p:cNvSpPr txBox="1"/>
          <p:nvPr/>
        </p:nvSpPr>
        <p:spPr>
          <a:xfrm>
            <a:off x="745959" y="2156252"/>
            <a:ext cx="208036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>
                <a:solidFill>
                  <a:schemeClr val="accent3"/>
                </a:solidFill>
                <a:latin typeface="-apple-system"/>
              </a:rPr>
              <a:t>Leitfragen</a:t>
            </a:r>
            <a:endParaRPr lang="de-DE" sz="1013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91A04F7-11EC-E22D-B473-9D3EEB1D5191}"/>
              </a:ext>
            </a:extLst>
          </p:cNvPr>
          <p:cNvSpPr txBox="1"/>
          <p:nvPr/>
        </p:nvSpPr>
        <p:spPr>
          <a:xfrm>
            <a:off x="745959" y="823130"/>
            <a:ext cx="208036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>
                <a:solidFill>
                  <a:schemeClr val="accent3"/>
                </a:solidFill>
                <a:latin typeface="-apple-system"/>
              </a:rPr>
              <a:t>Sitzung</a:t>
            </a:r>
            <a:endParaRPr lang="de-DE" sz="1013" dirty="0"/>
          </a:p>
        </p:txBody>
      </p:sp>
    </p:spTree>
    <p:extLst>
      <p:ext uri="{BB962C8B-B14F-4D97-AF65-F5344CB8AC3E}">
        <p14:creationId xmlns:p14="http://schemas.microsoft.com/office/powerpoint/2010/main" val="297346147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7" y="40554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15) Lebensform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4" y="1854895"/>
            <a:ext cx="76761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zentrale </a:t>
            </a:r>
            <a:r>
              <a:rPr lang="de-DE" sz="2000" b="1" dirty="0">
                <a:solidFill>
                  <a:schemeClr val="tx2"/>
                </a:solidFill>
              </a:rPr>
              <a:t>Begrifflichkeiten der Soziologie der</a:t>
            </a:r>
            <a:r>
              <a:rPr lang="de-DE" sz="2000" dirty="0">
                <a:solidFill>
                  <a:schemeClr val="tx2"/>
                </a:solidFill>
              </a:rPr>
              <a:t> </a:t>
            </a:r>
            <a:r>
              <a:rPr lang="de-DE" sz="2000" b="1" dirty="0">
                <a:solidFill>
                  <a:schemeClr val="tx2"/>
                </a:solidFill>
              </a:rPr>
              <a:t>Lebensformen</a:t>
            </a:r>
            <a:r>
              <a:rPr lang="de-DE" sz="2000" dirty="0">
                <a:solidFill>
                  <a:schemeClr val="tx2"/>
                </a:solidFill>
              </a:rPr>
              <a:t> und können diese definieren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kennen die </a:t>
            </a:r>
            <a:r>
              <a:rPr lang="de-DE" sz="2000" b="1" dirty="0">
                <a:solidFill>
                  <a:schemeClr val="tx2"/>
                </a:solidFill>
              </a:rPr>
              <a:t>Haupttrends des Wandels </a:t>
            </a:r>
            <a:r>
              <a:rPr lang="de-DE" sz="2000" dirty="0">
                <a:solidFill>
                  <a:schemeClr val="tx2"/>
                </a:solidFill>
              </a:rPr>
              <a:t>der Lebensformen und können diese beschreiben und erläutern, auch im </a:t>
            </a:r>
            <a:r>
              <a:rPr lang="de-DE" sz="2000" b="1" dirty="0">
                <a:solidFill>
                  <a:schemeClr val="tx2"/>
                </a:solidFill>
              </a:rPr>
              <a:t>Ost-West-</a:t>
            </a:r>
            <a:r>
              <a:rPr lang="de-DE" sz="2000" b="1" dirty="0" err="1">
                <a:solidFill>
                  <a:schemeClr val="tx2"/>
                </a:solidFill>
              </a:rPr>
              <a:t>Vergeich</a:t>
            </a:r>
            <a:r>
              <a:rPr lang="de-DE" sz="2000" b="1" dirty="0">
                <a:solidFill>
                  <a:schemeClr val="tx2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2026084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83500"/>
            <a:ext cx="7560000" cy="468000"/>
          </a:xfrm>
        </p:spPr>
        <p:txBody>
          <a:bodyPr/>
          <a:lstStyle/>
          <a:p>
            <a:r>
              <a:rPr lang="de-DE" sz="2800" b="0" dirty="0"/>
              <a:t>Lebensformen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600" y="771236"/>
            <a:ext cx="8718400" cy="360102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Lebensformen </a:t>
            </a:r>
            <a:r>
              <a:rPr lang="de-DE" sz="1600" b="0" dirty="0">
                <a:highlight>
                  <a:srgbClr val="FFFF00"/>
                </a:highlight>
              </a:rPr>
              <a:t>DEF</a:t>
            </a:r>
            <a:r>
              <a:rPr lang="de-DE" sz="1600" b="0" dirty="0"/>
              <a:t>= relativ stabile Beziehungsmuster, der Bevölkerung im </a:t>
            </a:r>
            <a:r>
              <a:rPr lang="de-DE" sz="1600" dirty="0"/>
              <a:t>privaten</a:t>
            </a:r>
            <a:r>
              <a:rPr lang="de-DE" sz="1600" b="0" dirty="0"/>
              <a:t> </a:t>
            </a:r>
            <a:r>
              <a:rPr lang="de-DE" sz="1600" dirty="0"/>
              <a:t>Bereich</a:t>
            </a:r>
            <a:r>
              <a:rPr lang="de-DE" sz="1600" b="0" dirty="0"/>
              <a:t>, die „allgemein mit </a:t>
            </a:r>
            <a:r>
              <a:rPr lang="de-DE" sz="1600" dirty="0"/>
              <a:t>Formen</a:t>
            </a:r>
            <a:r>
              <a:rPr lang="de-DE" sz="1600" b="0" dirty="0"/>
              <a:t> des </a:t>
            </a:r>
            <a:r>
              <a:rPr lang="de-DE" sz="1600" dirty="0"/>
              <a:t>Alleinlebens</a:t>
            </a:r>
            <a:r>
              <a:rPr lang="de-DE" sz="1600" b="0" dirty="0"/>
              <a:t> </a:t>
            </a:r>
            <a:r>
              <a:rPr lang="de-DE" sz="1600" dirty="0"/>
              <a:t>oder Zusammenlebens </a:t>
            </a:r>
            <a:r>
              <a:rPr lang="de-DE" sz="1600" b="0" dirty="0"/>
              <a:t>beschrieben werden können“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Trends:                                       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dirty="0"/>
              <a:t>1) Alleinlebende</a:t>
            </a:r>
            <a:r>
              <a:rPr lang="de-DE" sz="1600" b="0" dirty="0"/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2) </a:t>
            </a:r>
            <a:r>
              <a:rPr lang="de-DE" sz="1600" dirty="0"/>
              <a:t>Ehe</a:t>
            </a:r>
            <a:r>
              <a:rPr lang="de-DE" sz="1600" b="0" dirty="0"/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>
                <a:sym typeface="Wingdings" panose="05000000000000000000" pitchFamily="2" charset="2"/>
              </a:rPr>
              <a:t> Insgesamt:</a:t>
            </a:r>
            <a:endParaRPr lang="de-DE" sz="16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                                  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1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1A68394D-9856-487A-B4AD-227E8A61EC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2074553"/>
              </p:ext>
            </p:extLst>
          </p:nvPr>
        </p:nvGraphicFramePr>
        <p:xfrm>
          <a:off x="2682882" y="1469251"/>
          <a:ext cx="6149558" cy="19669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19630">
                  <a:extLst>
                    <a:ext uri="{9D8B030D-6E8A-4147-A177-3AD203B41FA5}">
                      <a16:colId xmlns:a16="http://schemas.microsoft.com/office/drawing/2014/main" val="1850882692"/>
                    </a:ext>
                  </a:extLst>
                </a:gridCol>
                <a:gridCol w="1007482">
                  <a:extLst>
                    <a:ext uri="{9D8B030D-6E8A-4147-A177-3AD203B41FA5}">
                      <a16:colId xmlns:a16="http://schemas.microsoft.com/office/drawing/2014/main" val="3494275096"/>
                    </a:ext>
                  </a:extLst>
                </a:gridCol>
                <a:gridCol w="1007482">
                  <a:extLst>
                    <a:ext uri="{9D8B030D-6E8A-4147-A177-3AD203B41FA5}">
                      <a16:colId xmlns:a16="http://schemas.microsoft.com/office/drawing/2014/main" val="3627716365"/>
                    </a:ext>
                  </a:extLst>
                </a:gridCol>
                <a:gridCol w="1007482">
                  <a:extLst>
                    <a:ext uri="{9D8B030D-6E8A-4147-A177-3AD203B41FA5}">
                      <a16:colId xmlns:a16="http://schemas.microsoft.com/office/drawing/2014/main" val="1678204210"/>
                    </a:ext>
                  </a:extLst>
                </a:gridCol>
                <a:gridCol w="1007482">
                  <a:extLst>
                    <a:ext uri="{9D8B030D-6E8A-4147-A177-3AD203B41FA5}">
                      <a16:colId xmlns:a16="http://schemas.microsoft.com/office/drawing/2014/main" val="2296696304"/>
                    </a:ext>
                  </a:extLst>
                </a:gridCol>
              </a:tblGrid>
              <a:tr h="440156"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Bürgerliche Kernfamil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Kernfamil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Familiale Lebensform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Lebensform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3209402"/>
                  </a:ext>
                </a:extLst>
              </a:tr>
              <a:tr h="233261"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Elternschaf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237237"/>
                  </a:ext>
                </a:extLst>
              </a:tr>
              <a:tr h="524837"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Ehelichkeit der Partner-bezieh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2197965"/>
                  </a:ext>
                </a:extLst>
              </a:tr>
              <a:tr h="379049"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Haushalts-gemeinsch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4111917"/>
                  </a:ext>
                </a:extLst>
              </a:tr>
              <a:tr h="379049"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Normatives Rollenbi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4975644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70673864-B67E-BDF5-B61C-1B946D04CF41}"/>
              </a:ext>
            </a:extLst>
          </p:cNvPr>
          <p:cNvSpPr txBox="1"/>
          <p:nvPr/>
        </p:nvSpPr>
        <p:spPr>
          <a:xfrm>
            <a:off x="4082473" y="2115127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3A1C2E3-3667-A4DF-BB19-AD03912A1447}"/>
              </a:ext>
            </a:extLst>
          </p:cNvPr>
          <p:cNvSpPr txBox="1"/>
          <p:nvPr/>
        </p:nvSpPr>
        <p:spPr>
          <a:xfrm>
            <a:off x="1958107" y="3428209"/>
            <a:ext cx="3519057" cy="336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>
                <a:solidFill>
                  <a:schemeClr val="tx2"/>
                </a:solidFill>
              </a:rPr>
              <a:t>–starker Anstieg auf inzwischen 42%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587838A-1CF5-8769-3738-C57F83F45FBD}"/>
              </a:ext>
            </a:extLst>
          </p:cNvPr>
          <p:cNvSpPr txBox="1"/>
          <p:nvPr/>
        </p:nvSpPr>
        <p:spPr>
          <a:xfrm>
            <a:off x="983671" y="3784576"/>
            <a:ext cx="8511311" cy="336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>
                <a:solidFill>
                  <a:schemeClr val="tx2"/>
                </a:solidFill>
              </a:rPr>
              <a:t>–Scheidungsrate wiederspricht der Dauerhaftigkeit &amp; Gleichgeschlechtlichkeit per Gesetz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61807AE-7251-700B-C459-493236E22749}"/>
              </a:ext>
            </a:extLst>
          </p:cNvPr>
          <p:cNvSpPr txBox="1"/>
          <p:nvPr/>
        </p:nvSpPr>
        <p:spPr>
          <a:xfrm>
            <a:off x="1662544" y="4157186"/>
            <a:ext cx="8511311" cy="336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dirty="0">
                <a:solidFill>
                  <a:schemeClr val="tx2"/>
                </a:solidFill>
              </a:rPr>
              <a:t>Zunehmende Vielfalt &amp; </a:t>
            </a:r>
            <a:r>
              <a:rPr lang="de-DE" sz="1600" b="1" dirty="0">
                <a:solidFill>
                  <a:schemeClr val="tx2"/>
                </a:solidFill>
              </a:rPr>
              <a:t>Pluralisierung der Lebensformen</a:t>
            </a:r>
          </a:p>
        </p:txBody>
      </p:sp>
    </p:spTree>
    <p:extLst>
      <p:ext uri="{BB962C8B-B14F-4D97-AF65-F5344CB8AC3E}">
        <p14:creationId xmlns:p14="http://schemas.microsoft.com/office/powerpoint/2010/main" val="179254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sz="2400" b="0" dirty="0"/>
              <a:t>Lebensformen</a:t>
            </a:r>
            <a:r>
              <a:rPr lang="de-DE" dirty="0"/>
              <a:t>: Famil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635826"/>
            <a:ext cx="8659897" cy="405638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dirty="0"/>
              <a:t>Familie als Herstellungsleistung </a:t>
            </a:r>
            <a:r>
              <a:rPr lang="de-DE" sz="1400" b="0" dirty="0"/>
              <a:t>(Jurczyk 2014):</a:t>
            </a:r>
            <a:endParaRPr lang="de-DE" sz="1800" b="0" dirty="0"/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Familie keine Form, sondern eine </a:t>
            </a:r>
            <a:r>
              <a:rPr lang="de-DE" sz="1800" dirty="0"/>
              <a:t>Praxis</a:t>
            </a:r>
            <a:r>
              <a:rPr lang="de-DE" sz="1800" b="0" dirty="0"/>
              <a:t> = „</a:t>
            </a:r>
            <a:r>
              <a:rPr lang="de-DE" sz="1800" i="1" dirty="0" err="1"/>
              <a:t>Doing</a:t>
            </a:r>
            <a:r>
              <a:rPr lang="de-DE" sz="1800" i="1" dirty="0"/>
              <a:t> Family“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strike="sngStrike" dirty="0"/>
              <a:t>Familie keine selbstverständliche Ressource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Sondern bedarf </a:t>
            </a:r>
            <a:r>
              <a:rPr lang="de-DE" sz="1800" dirty="0">
                <a:sym typeface="Wingdings" panose="05000000000000000000" pitchFamily="2" charset="2"/>
              </a:rPr>
              <a:t>täglicher und biographisch Praktiken </a:t>
            </a:r>
            <a:r>
              <a:rPr lang="de-DE" sz="1800" b="0" dirty="0">
                <a:sym typeface="Wingdings" panose="05000000000000000000" pitchFamily="2" charset="2"/>
              </a:rPr>
              <a:t>zur Herstellu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i="1" dirty="0">
                <a:sym typeface="Wingdings" panose="05000000000000000000" pitchFamily="2" charset="2"/>
              </a:rPr>
              <a:t>                                   </a:t>
            </a:r>
            <a:r>
              <a:rPr lang="de-DE" sz="1800" i="1" dirty="0">
                <a:solidFill>
                  <a:schemeClr val="accent2"/>
                </a:solidFill>
                <a:sym typeface="Wingdings" panose="05000000000000000000" pitchFamily="2" charset="2"/>
              </a:rPr>
              <a:t>„Familie </a:t>
            </a:r>
            <a:r>
              <a:rPr lang="de-DE" sz="1800" i="1" dirty="0">
                <a:solidFill>
                  <a:schemeClr val="accent2"/>
                </a:solidFill>
              </a:rPr>
              <a:t>muss man aktiv tun“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2</a:t>
            </a:fld>
            <a:r>
              <a:rPr lang="de-DE"/>
              <a:t> </a:t>
            </a:r>
            <a:endParaRPr lang="de-DE" dirty="0"/>
          </a:p>
        </p:txBody>
      </p:sp>
      <p:graphicFrame>
        <p:nvGraphicFramePr>
          <p:cNvPr id="6" name="Tabelle 7">
            <a:extLst>
              <a:ext uri="{FF2B5EF4-FFF2-40B4-BE49-F238E27FC236}">
                <a16:creationId xmlns:a16="http://schemas.microsoft.com/office/drawing/2014/main" id="{F9254368-6E7A-AACE-2FA0-7E93DCA06C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466113"/>
              </p:ext>
            </p:extLst>
          </p:nvPr>
        </p:nvGraphicFramePr>
        <p:xfrm>
          <a:off x="1086252" y="2393880"/>
          <a:ext cx="6971496" cy="21137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8329">
                  <a:extLst>
                    <a:ext uri="{9D8B030D-6E8A-4147-A177-3AD203B41FA5}">
                      <a16:colId xmlns:a16="http://schemas.microsoft.com/office/drawing/2014/main" val="4104224823"/>
                    </a:ext>
                  </a:extLst>
                </a:gridCol>
                <a:gridCol w="4573167">
                  <a:extLst>
                    <a:ext uri="{9D8B030D-6E8A-4147-A177-3AD203B41FA5}">
                      <a16:colId xmlns:a16="http://schemas.microsoft.com/office/drawing/2014/main" val="1233944178"/>
                    </a:ext>
                  </a:extLst>
                </a:gridCol>
              </a:tblGrid>
              <a:tr h="279161">
                <a:tc>
                  <a:txBody>
                    <a:bodyPr/>
                    <a:lstStyle/>
                    <a:p>
                      <a:r>
                        <a:rPr lang="de-DE" sz="1300" dirty="0"/>
                        <a:t>Grundfor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7893737"/>
                  </a:ext>
                </a:extLst>
              </a:tr>
              <a:tr h="872636">
                <a:tc>
                  <a:txBody>
                    <a:bodyPr/>
                    <a:lstStyle/>
                    <a:p>
                      <a:r>
                        <a:rPr lang="de-DE" sz="1300" b="1" dirty="0"/>
                        <a:t>1) Balance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5252148"/>
                  </a:ext>
                </a:extLst>
              </a:tr>
              <a:tr h="465713">
                <a:tc>
                  <a:txBody>
                    <a:bodyPr/>
                    <a:lstStyle/>
                    <a:p>
                      <a:r>
                        <a:rPr lang="de-DE" sz="1300" b="1" dirty="0"/>
                        <a:t>2) Konstruktion von Gemeinsamkei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8945054"/>
                  </a:ext>
                </a:extLst>
              </a:tr>
              <a:tr h="463918">
                <a:tc>
                  <a:txBody>
                    <a:bodyPr/>
                    <a:lstStyle/>
                    <a:p>
                      <a:r>
                        <a:rPr lang="de-DE" sz="1300" b="1" dirty="0"/>
                        <a:t>3) „</a:t>
                      </a:r>
                      <a:r>
                        <a:rPr lang="de-DE" sz="1300" b="1" dirty="0" err="1"/>
                        <a:t>Displaying</a:t>
                      </a:r>
                      <a:r>
                        <a:rPr lang="de-DE" sz="1300" b="1" dirty="0"/>
                        <a:t> </a:t>
                      </a:r>
                      <a:r>
                        <a:rPr lang="de-DE" sz="1300" b="1" dirty="0" err="1"/>
                        <a:t>family</a:t>
                      </a:r>
                      <a:r>
                        <a:rPr lang="de-DE" sz="1300" b="1" dirty="0"/>
                        <a:t>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2169620"/>
                  </a:ext>
                </a:extLst>
              </a:tr>
            </a:tbl>
          </a:graphicData>
        </a:graphic>
      </p:graphicFrame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7C4257BF-2EA6-570B-A807-586168868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D78AD34-091E-2206-2869-B85F49E25BD7}"/>
              </a:ext>
            </a:extLst>
          </p:cNvPr>
          <p:cNvSpPr txBox="1"/>
          <p:nvPr/>
        </p:nvSpPr>
        <p:spPr>
          <a:xfrm>
            <a:off x="3502211" y="2656761"/>
            <a:ext cx="46648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Bedarf organisatorische &amp; logistische Abstimmungen für den Allta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Lebensführung muss 1) mental, 2) emotional, 3) zeitlich, 4) räumlich koordiniert werden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D539417-4D55-B2CD-EE21-5A7761F0BED6}"/>
              </a:ext>
            </a:extLst>
          </p:cNvPr>
          <p:cNvSpPr txBox="1"/>
          <p:nvPr/>
        </p:nvSpPr>
        <p:spPr>
          <a:xfrm>
            <a:off x="3461680" y="3534806"/>
            <a:ext cx="47220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Gemeinsame Interaktionen, um die Familie als sinnhaftes Ganzes zusammenzuführen </a:t>
            </a:r>
            <a:r>
              <a:rPr lang="de-DE" sz="1400" dirty="0">
                <a:sym typeface="Wingdings" panose="05000000000000000000" pitchFamily="2" charset="2"/>
              </a:rPr>
              <a:t>Sinneinheit</a:t>
            </a:r>
            <a:endParaRPr lang="de-DE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3D4811A-8AA0-A36D-C479-B3A4CCE059E2}"/>
              </a:ext>
            </a:extLst>
          </p:cNvPr>
          <p:cNvSpPr txBox="1"/>
          <p:nvPr/>
        </p:nvSpPr>
        <p:spPr>
          <a:xfrm>
            <a:off x="3502211" y="4025548"/>
            <a:ext cx="42304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Nach außen gerichtete (inszenierte) Signale: „Wir sind eine Familie“</a:t>
            </a:r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4137465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8" y="16557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16) Bildung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569033" y="1260082"/>
            <a:ext cx="867989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</a:t>
            </a:r>
            <a:r>
              <a:rPr lang="de-DE" sz="2000" b="1" dirty="0">
                <a:solidFill>
                  <a:schemeClr val="tx2"/>
                </a:solidFill>
              </a:rPr>
              <a:t>zentrale Begrifflichkeiten </a:t>
            </a:r>
            <a:r>
              <a:rPr lang="de-DE" sz="2000" dirty="0">
                <a:solidFill>
                  <a:schemeClr val="tx2"/>
                </a:solidFill>
              </a:rPr>
              <a:t>der Bildungssoziologie, z.B. </a:t>
            </a:r>
            <a:r>
              <a:rPr lang="de-DE" sz="2000" b="1" i="1" dirty="0">
                <a:solidFill>
                  <a:schemeClr val="tx2"/>
                </a:solidFill>
              </a:rPr>
              <a:t>Bildung, Erziehung, Sozialisation und Meritokratie</a:t>
            </a:r>
            <a:r>
              <a:rPr lang="de-DE" sz="2000" dirty="0">
                <a:solidFill>
                  <a:schemeClr val="tx2"/>
                </a:solidFill>
              </a:rPr>
              <a:t>, und können diese definieren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kennen </a:t>
            </a:r>
            <a:r>
              <a:rPr lang="de-DE" sz="2000" b="1" dirty="0">
                <a:solidFill>
                  <a:schemeClr val="tx2"/>
                </a:solidFill>
              </a:rPr>
              <a:t>zwei zentrale Theorien </a:t>
            </a:r>
            <a:r>
              <a:rPr lang="de-DE" sz="2000" dirty="0">
                <a:solidFill>
                  <a:schemeClr val="tx2"/>
                </a:solidFill>
              </a:rPr>
              <a:t>zur Erklärung von </a:t>
            </a:r>
            <a:r>
              <a:rPr lang="de-DE" sz="2000" b="1" dirty="0">
                <a:solidFill>
                  <a:schemeClr val="tx2"/>
                </a:solidFill>
              </a:rPr>
              <a:t>Bildungsungleichheit</a:t>
            </a:r>
            <a:r>
              <a:rPr lang="de-DE" sz="2000" dirty="0">
                <a:solidFill>
                  <a:schemeClr val="tx2"/>
                </a:solidFill>
              </a:rPr>
              <a:t>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3) Sie kennen die hauptsächlichen </a:t>
            </a:r>
            <a:r>
              <a:rPr lang="de-DE" sz="2000" b="1" dirty="0">
                <a:solidFill>
                  <a:schemeClr val="tx2"/>
                </a:solidFill>
              </a:rPr>
              <a:t>Kategorien</a:t>
            </a:r>
            <a:r>
              <a:rPr lang="de-DE" sz="2000" dirty="0">
                <a:solidFill>
                  <a:schemeClr val="tx2"/>
                </a:solidFill>
              </a:rPr>
              <a:t>, die </a:t>
            </a:r>
            <a:r>
              <a:rPr lang="de-DE" sz="2000" b="1" dirty="0">
                <a:solidFill>
                  <a:schemeClr val="tx2"/>
                </a:solidFill>
              </a:rPr>
              <a:t>Bildungsungleichheiten</a:t>
            </a:r>
            <a:r>
              <a:rPr lang="de-DE" sz="2000" dirty="0">
                <a:solidFill>
                  <a:schemeClr val="tx2"/>
                </a:solidFill>
              </a:rPr>
              <a:t> begründen, und können erläutern, wie sich Bildungsungleichheiten im Zuge der </a:t>
            </a:r>
            <a:r>
              <a:rPr lang="de-DE" sz="2000" b="1" dirty="0">
                <a:solidFill>
                  <a:schemeClr val="tx2"/>
                </a:solidFill>
              </a:rPr>
              <a:t>Bildungsexpansion</a:t>
            </a:r>
            <a:r>
              <a:rPr lang="de-DE" sz="2000" dirty="0">
                <a:solidFill>
                  <a:schemeClr val="tx2"/>
                </a:solidFill>
              </a:rPr>
              <a:t> verändert haben</a:t>
            </a:r>
          </a:p>
        </p:txBody>
      </p:sp>
    </p:spTree>
    <p:extLst>
      <p:ext uri="{BB962C8B-B14F-4D97-AF65-F5344CB8AC3E}">
        <p14:creationId xmlns:p14="http://schemas.microsoft.com/office/powerpoint/2010/main" val="4959106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83500"/>
            <a:ext cx="7560000" cy="468000"/>
          </a:xfrm>
        </p:spPr>
        <p:txBody>
          <a:bodyPr/>
          <a:lstStyle/>
          <a:p>
            <a:r>
              <a:rPr lang="de-DE" sz="2800" b="0" dirty="0"/>
              <a:t>Bildung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771236"/>
            <a:ext cx="8676000" cy="360102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Bildung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= Entwicklung von Individuen zu Handlungsfähigkei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Meritokratisches Prinzip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= </a:t>
            </a:r>
            <a:r>
              <a:rPr lang="de-DE" sz="1800" dirty="0"/>
              <a:t>Selektion</a:t>
            </a:r>
            <a:r>
              <a:rPr lang="de-DE" sz="1800" b="0" dirty="0"/>
              <a:t> von Individuen erfolgt (nur) </a:t>
            </a:r>
            <a:r>
              <a:rPr lang="de-DE" sz="1800" dirty="0"/>
              <a:t>durch demonstrierte Leistungen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Kognitive Fähigkeiten/ IQ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Bildungszertifikaten &amp; Schulleistungen</a:t>
            </a:r>
          </a:p>
          <a:p>
            <a:pPr marL="519750" lvl="2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Persönlichkeitsmerkmalen</a:t>
            </a:r>
          </a:p>
          <a:p>
            <a:pPr lvl="2" indent="0">
              <a:lnSpc>
                <a:spcPct val="100000"/>
              </a:lnSpc>
              <a:spcAft>
                <a:spcPts val="800"/>
              </a:spcAft>
              <a:buNone/>
            </a:pPr>
            <a:r>
              <a:rPr lang="de-DE" sz="1800" dirty="0">
                <a:sym typeface="Wingdings" panose="05000000000000000000" pitchFamily="2" charset="2"/>
              </a:rPr>
              <a:t> Leistung als Kriterium/</a:t>
            </a:r>
            <a:r>
              <a:rPr lang="de-DE" sz="1800" b="1" dirty="0">
                <a:sym typeface="Wingdings" panose="05000000000000000000" pitchFamily="2" charset="2"/>
              </a:rPr>
              <a:t>Rechtfertigung von sozialer Ungleichheit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                                  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4</a:t>
            </a:fld>
            <a:r>
              <a:rPr lang="de-DE"/>
              <a:t> 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76FA4F3-E229-FA33-3FCF-51330110F444}"/>
              </a:ext>
            </a:extLst>
          </p:cNvPr>
          <p:cNvCxnSpPr>
            <a:cxnSpLocks/>
          </p:cNvCxnSpPr>
          <p:nvPr/>
        </p:nvCxnSpPr>
        <p:spPr>
          <a:xfrm>
            <a:off x="435782" y="1265382"/>
            <a:ext cx="8272436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8222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83500"/>
            <a:ext cx="7560000" cy="468000"/>
          </a:xfrm>
        </p:spPr>
        <p:txBody>
          <a:bodyPr/>
          <a:lstStyle/>
          <a:p>
            <a:r>
              <a:rPr lang="de-DE" sz="2800" b="0" dirty="0"/>
              <a:t>Bildungssystem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771236"/>
            <a:ext cx="8676000" cy="360102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Bildungsexpansion</a:t>
            </a:r>
            <a:r>
              <a:rPr lang="de-DE" sz="1800" b="0" dirty="0"/>
              <a:t>: 1960er Forderung nach Veränderung des Bildungssystem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>
                <a:sym typeface="Wingdings" panose="05000000000000000000" pitchFamily="2" charset="2"/>
              </a:rPr>
              <a:t>Ziel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dirty="0">
                <a:sym typeface="Wingdings" panose="05000000000000000000" pitchFamily="2" charset="2"/>
              </a:rPr>
              <a:t>1) Abbau</a:t>
            </a:r>
            <a:r>
              <a:rPr lang="de-DE" sz="1600" b="0" dirty="0">
                <a:sym typeface="Wingdings" panose="05000000000000000000" pitchFamily="2" charset="2"/>
              </a:rPr>
              <a:t> von </a:t>
            </a:r>
            <a:r>
              <a:rPr lang="de-DE" sz="1600" dirty="0">
                <a:sym typeface="Wingdings" panose="05000000000000000000" pitchFamily="2" charset="2"/>
              </a:rPr>
              <a:t>Bildungsungleichheiten</a:t>
            </a:r>
            <a:r>
              <a:rPr lang="de-DE" sz="1600" b="0" dirty="0">
                <a:sym typeface="Wingdings" panose="05000000000000000000" pitchFamily="2" charset="2"/>
              </a:rPr>
              <a:t> durch Ausbau sekundär &amp; tertiären Bereich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>
                <a:sym typeface="Wingdings" panose="05000000000000000000" pitchFamily="2" charset="2"/>
              </a:rPr>
              <a:t>2) Steigerung &amp; </a:t>
            </a:r>
            <a:r>
              <a:rPr lang="de-DE" sz="1600" dirty="0">
                <a:sym typeface="Wingdings" panose="05000000000000000000" pitchFamily="2" charset="2"/>
              </a:rPr>
              <a:t>Verlängerung</a:t>
            </a:r>
            <a:r>
              <a:rPr lang="de-DE" sz="1600" b="0" dirty="0">
                <a:sym typeface="Wingdings" panose="05000000000000000000" pitchFamily="2" charset="2"/>
              </a:rPr>
              <a:t> der </a:t>
            </a:r>
            <a:r>
              <a:rPr lang="de-DE" sz="1600" dirty="0">
                <a:sym typeface="Wingdings" panose="05000000000000000000" pitchFamily="2" charset="2"/>
              </a:rPr>
              <a:t>Bildungsbeteiligung</a:t>
            </a:r>
            <a:r>
              <a:rPr lang="de-DE" sz="1600" b="0" dirty="0">
                <a:sym typeface="Wingdings" panose="05000000000000000000" pitchFamily="2" charset="2"/>
              </a:rPr>
              <a:t> der ganzer Bevölkeru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>
                <a:sym typeface="Wingdings" panose="05000000000000000000" pitchFamily="2" charset="2"/>
              </a:rPr>
              <a:t>Erreicht?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>
                <a:sym typeface="Wingdings" panose="05000000000000000000" pitchFamily="2" charset="2"/>
              </a:rPr>
              <a:t>1) Ja </a:t>
            </a:r>
            <a:r>
              <a:rPr lang="de-DE" sz="1600" dirty="0">
                <a:sym typeface="Wingdings" panose="05000000000000000000" pitchFamily="2" charset="2"/>
              </a:rPr>
              <a:t>kontinuierliche Höherqualifizierung </a:t>
            </a:r>
            <a:r>
              <a:rPr lang="de-DE" sz="1600" b="0" dirty="0">
                <a:sym typeface="Wingdings" panose="05000000000000000000" pitchFamily="2" charset="2"/>
              </a:rPr>
              <a:t>der Bevölkerung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Vom Hauptschule zum Gymnasium als dominante Schulform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>
                <a:sym typeface="Wingdings" panose="05000000000000000000" pitchFamily="2" charset="2"/>
              </a:rPr>
              <a:t>2) ABER </a:t>
            </a:r>
            <a:r>
              <a:rPr lang="de-DE" sz="1600" dirty="0">
                <a:sym typeface="Wingdings" panose="05000000000000000000" pitchFamily="2" charset="2"/>
              </a:rPr>
              <a:t>keine Verkleinerung </a:t>
            </a:r>
            <a:r>
              <a:rPr lang="de-DE" sz="1600" b="0" dirty="0">
                <a:sym typeface="Wingdings" panose="05000000000000000000" pitchFamily="2" charset="2"/>
              </a:rPr>
              <a:t>der </a:t>
            </a:r>
            <a:r>
              <a:rPr lang="de-DE" sz="1600" dirty="0">
                <a:sym typeface="Wingdings" panose="05000000000000000000" pitchFamily="2" charset="2"/>
              </a:rPr>
              <a:t>Chancenungleichheit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Kunstfigur „</a:t>
            </a:r>
            <a:r>
              <a:rPr lang="de-DE" sz="1600" b="0" dirty="0">
                <a:solidFill>
                  <a:schemeClr val="accent2"/>
                </a:solidFill>
                <a:sym typeface="Wingdings" panose="05000000000000000000" pitchFamily="2" charset="2"/>
              </a:rPr>
              <a:t>Muslimischer Migrationssohn aus der Großstadt</a:t>
            </a:r>
            <a:r>
              <a:rPr lang="de-DE" sz="1600" b="0" dirty="0">
                <a:sym typeface="Wingdings" panose="05000000000000000000" pitchFamily="2" charset="2"/>
              </a:rPr>
              <a:t>“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Reproduktion des Bildungsniveaus der Elter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                                  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5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156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67826"/>
            <a:ext cx="8946536" cy="468000"/>
          </a:xfrm>
        </p:spPr>
        <p:txBody>
          <a:bodyPr/>
          <a:lstStyle/>
          <a:p>
            <a:r>
              <a:rPr lang="de-DE" dirty="0"/>
              <a:t> Bildungsungleichheiten: </a:t>
            </a:r>
            <a:r>
              <a:rPr lang="de-DE" dirty="0">
                <a:solidFill>
                  <a:schemeClr val="accent2"/>
                </a:solidFill>
              </a:rPr>
              <a:t>Theorie </a:t>
            </a:r>
            <a:r>
              <a:rPr lang="de-DE" dirty="0" err="1">
                <a:solidFill>
                  <a:schemeClr val="accent2"/>
                </a:solidFill>
              </a:rPr>
              <a:t>Boudon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783652"/>
            <a:ext cx="8659897" cy="3576195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</a:t>
            </a:r>
            <a:r>
              <a:rPr lang="de-DE" sz="1800" dirty="0">
                <a:sym typeface="Wingdings" panose="05000000000000000000" pitchFamily="2" charset="2"/>
              </a:rPr>
              <a:t>Abwägung von Kosten &amp; Nutzen </a:t>
            </a:r>
            <a:r>
              <a:rPr lang="de-DE" sz="1800" b="0" dirty="0">
                <a:sym typeface="Wingdings" panose="05000000000000000000" pitchFamily="2" charset="2"/>
              </a:rPr>
              <a:t>von </a:t>
            </a:r>
            <a:r>
              <a:rPr lang="de-DE" sz="1800" dirty="0">
                <a:sym typeface="Wingdings" panose="05000000000000000000" pitchFamily="2" charset="2"/>
              </a:rPr>
              <a:t>Bildungsalternativ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1)  Primärer</a:t>
            </a:r>
            <a:r>
              <a:rPr lang="de-DE" sz="1800" b="0" dirty="0">
                <a:sym typeface="Wingdings" panose="05000000000000000000" pitchFamily="2" charset="2"/>
              </a:rPr>
              <a:t> Herkunftseffek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= </a:t>
            </a:r>
            <a:r>
              <a:rPr lang="de-DE" sz="1800" dirty="0">
                <a:sym typeface="Wingdings" panose="05000000000000000000" pitchFamily="2" charset="2"/>
              </a:rPr>
              <a:t>Ungleiche Herkunftsbedingungen in Familien </a:t>
            </a:r>
            <a:r>
              <a:rPr lang="de-DE" sz="1800" b="0" dirty="0">
                <a:sym typeface="Wingdings" panose="05000000000000000000" pitchFamily="2" charset="2"/>
              </a:rPr>
              <a:t> Auswirkungen auf schulische </a:t>
            </a:r>
            <a:r>
              <a:rPr lang="de-DE" sz="1800" u="sng" dirty="0">
                <a:sym typeface="Wingdings" panose="05000000000000000000" pitchFamily="2" charset="2"/>
              </a:rPr>
              <a:t>Leistung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i="1" dirty="0">
                <a:sym typeface="Wingdings" panose="05000000000000000000" pitchFamily="2" charset="2"/>
              </a:rPr>
              <a:t>z.B. Hausaufgabenhilfe, Bücher im Haushalt, Homeschooli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2)  Sekundärer</a:t>
            </a:r>
            <a:r>
              <a:rPr lang="de-DE" sz="1800" b="0" dirty="0">
                <a:sym typeface="Wingdings" panose="05000000000000000000" pitchFamily="2" charset="2"/>
              </a:rPr>
              <a:t> Herkunftseffek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= Bei </a:t>
            </a:r>
            <a:r>
              <a:rPr lang="de-DE" sz="1800" dirty="0">
                <a:sym typeface="Wingdings" panose="05000000000000000000" pitchFamily="2" charset="2"/>
              </a:rPr>
              <a:t>gleichen Leistungen </a:t>
            </a:r>
            <a:r>
              <a:rPr lang="de-DE" sz="1800" b="0" dirty="0">
                <a:sym typeface="Wingdings" panose="05000000000000000000" pitchFamily="2" charset="2"/>
              </a:rPr>
              <a:t>kommt es zu </a:t>
            </a:r>
            <a:r>
              <a:rPr lang="de-DE" sz="1800" dirty="0">
                <a:sym typeface="Wingdings" panose="05000000000000000000" pitchFamily="2" charset="2"/>
              </a:rPr>
              <a:t>Unterschieden </a:t>
            </a:r>
            <a:r>
              <a:rPr lang="de-DE" sz="1800" b="0" dirty="0">
                <a:sym typeface="Wingdings" panose="05000000000000000000" pitchFamily="2" charset="2"/>
              </a:rPr>
              <a:t>an</a:t>
            </a:r>
            <a:r>
              <a:rPr lang="de-DE" sz="1800" dirty="0">
                <a:sym typeface="Wingdings" panose="05000000000000000000" pitchFamily="2" charset="2"/>
              </a:rPr>
              <a:t> Bildungs</a:t>
            </a:r>
            <a:r>
              <a:rPr lang="de-DE" sz="1800" u="sng" dirty="0">
                <a:sym typeface="Wingdings" panose="05000000000000000000" pitchFamily="2" charset="2"/>
              </a:rPr>
              <a:t>entscheidungen</a:t>
            </a:r>
            <a:r>
              <a:rPr lang="de-DE" sz="1800" dirty="0">
                <a:sym typeface="Wingdings" panose="05000000000000000000" pitchFamily="2" charset="2"/>
              </a:rPr>
              <a:t> </a:t>
            </a:r>
            <a:r>
              <a:rPr lang="de-DE" sz="1800" b="0" dirty="0">
                <a:sym typeface="Wingdings" panose="05000000000000000000" pitchFamily="2" charset="2"/>
              </a:rPr>
              <a:t>(an </a:t>
            </a:r>
            <a:r>
              <a:rPr lang="de-DE" sz="1800" dirty="0">
                <a:sym typeface="Wingdings" panose="05000000000000000000" pitchFamily="2" charset="2"/>
              </a:rPr>
              <a:t>Bildungsübergängen</a:t>
            </a:r>
            <a:r>
              <a:rPr lang="de-DE" sz="1800" b="0" dirty="0">
                <a:sym typeface="Wingdings" panose="05000000000000000000" pitchFamily="2" charset="2"/>
              </a:rPr>
              <a:t>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i="1" dirty="0">
                <a:sym typeface="Wingdings" panose="05000000000000000000" pitchFamily="2" charset="2"/>
              </a:rPr>
              <a:t>z.B. Eltern sehen Studium als Belastung, Lehrer trauen Schüler nicht Gymnasium zu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i="1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6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2182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8" y="16557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17) Arbeitsmarkt und Erwerbsstruktu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A5583AA-B8C4-4108-372C-3D3E0B813703}"/>
              </a:ext>
            </a:extLst>
          </p:cNvPr>
          <p:cNvSpPr txBox="1"/>
          <p:nvPr/>
        </p:nvSpPr>
        <p:spPr>
          <a:xfrm>
            <a:off x="634251" y="1348565"/>
            <a:ext cx="8365523" cy="32316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700" dirty="0">
                <a:solidFill>
                  <a:schemeClr val="tx2"/>
                </a:solidFill>
              </a:rPr>
              <a:t>(1) Sie kennen zentrale </a:t>
            </a:r>
            <a:r>
              <a:rPr lang="de-DE" sz="1700" b="1" dirty="0">
                <a:solidFill>
                  <a:schemeClr val="tx2"/>
                </a:solidFill>
              </a:rPr>
              <a:t>Begrifflichkeiten</a:t>
            </a:r>
            <a:r>
              <a:rPr lang="de-DE" sz="1700" dirty="0">
                <a:solidFill>
                  <a:schemeClr val="tx2"/>
                </a:solidFill>
              </a:rPr>
              <a:t> der Arbeitssoziologie, z.B</a:t>
            </a:r>
            <a:r>
              <a:rPr lang="de-DE" sz="1700" b="1" i="1" dirty="0">
                <a:solidFill>
                  <a:schemeClr val="tx2"/>
                </a:solidFill>
              </a:rPr>
              <a:t>. Arbeit, Erwerbsarbeit, Hausarbeit, Sorgearbeit (Care) und Prekarisierung</a:t>
            </a:r>
            <a:r>
              <a:rPr lang="de-DE" sz="1700" dirty="0">
                <a:solidFill>
                  <a:schemeClr val="tx2"/>
                </a:solidFill>
              </a:rPr>
              <a:t>, und können diese definieren.</a:t>
            </a:r>
          </a:p>
          <a:p>
            <a:endParaRPr lang="de-DE" sz="1700" dirty="0">
              <a:solidFill>
                <a:schemeClr val="tx2"/>
              </a:solidFill>
            </a:endParaRPr>
          </a:p>
          <a:p>
            <a:r>
              <a:rPr lang="de-DE" sz="1700" dirty="0">
                <a:solidFill>
                  <a:schemeClr val="tx2"/>
                </a:solidFill>
              </a:rPr>
              <a:t>(2) Sie kennen Grundzüge des </a:t>
            </a:r>
            <a:r>
              <a:rPr lang="de-DE" sz="1700" b="1" dirty="0">
                <a:solidFill>
                  <a:schemeClr val="tx2"/>
                </a:solidFill>
              </a:rPr>
              <a:t>Wandels</a:t>
            </a:r>
            <a:r>
              <a:rPr lang="de-DE" sz="1700" dirty="0">
                <a:solidFill>
                  <a:schemeClr val="tx2"/>
                </a:solidFill>
              </a:rPr>
              <a:t> von der </a:t>
            </a:r>
            <a:r>
              <a:rPr lang="de-DE" sz="1700" b="1" dirty="0">
                <a:solidFill>
                  <a:schemeClr val="tx2"/>
                </a:solidFill>
              </a:rPr>
              <a:t>Industrie- zur Dienstleistungsgesellschaft.</a:t>
            </a:r>
          </a:p>
          <a:p>
            <a:endParaRPr lang="de-DE" sz="1700" dirty="0">
              <a:solidFill>
                <a:schemeClr val="tx2"/>
              </a:solidFill>
            </a:endParaRPr>
          </a:p>
          <a:p>
            <a:r>
              <a:rPr lang="de-DE" sz="1700" dirty="0">
                <a:solidFill>
                  <a:schemeClr val="tx2"/>
                </a:solidFill>
              </a:rPr>
              <a:t>(3) Sie können erläutern, was </a:t>
            </a:r>
            <a:r>
              <a:rPr lang="de-DE" sz="1700" b="1" dirty="0">
                <a:solidFill>
                  <a:schemeClr val="tx2"/>
                </a:solidFill>
              </a:rPr>
              <a:t>'Feminisierung‘ der Erwerbsarbeit </a:t>
            </a:r>
            <a:r>
              <a:rPr lang="de-DE" sz="1700" dirty="0">
                <a:solidFill>
                  <a:schemeClr val="tx2"/>
                </a:solidFill>
              </a:rPr>
              <a:t>meint und inwiefern damit die Geschlechterungleichheit auf dem Arbeitsmarkt abgebaut wird.</a:t>
            </a:r>
          </a:p>
          <a:p>
            <a:endParaRPr lang="de-DE" sz="1700" dirty="0">
              <a:solidFill>
                <a:schemeClr val="tx2"/>
              </a:solidFill>
            </a:endParaRPr>
          </a:p>
          <a:p>
            <a:r>
              <a:rPr lang="de-DE" sz="1700" dirty="0">
                <a:solidFill>
                  <a:schemeClr val="tx2"/>
                </a:solidFill>
              </a:rPr>
              <a:t>(4) Sie kennen </a:t>
            </a:r>
            <a:r>
              <a:rPr lang="de-DE" sz="1700" b="1" dirty="0">
                <a:solidFill>
                  <a:schemeClr val="tx2"/>
                </a:solidFill>
              </a:rPr>
              <a:t>neuere Phänomene auf </a:t>
            </a:r>
            <a:r>
              <a:rPr lang="de-DE" sz="1700" dirty="0">
                <a:solidFill>
                  <a:schemeClr val="tx2"/>
                </a:solidFill>
              </a:rPr>
              <a:t>dem </a:t>
            </a:r>
            <a:r>
              <a:rPr lang="de-DE" sz="1700" b="1" dirty="0">
                <a:solidFill>
                  <a:schemeClr val="tx2"/>
                </a:solidFill>
              </a:rPr>
              <a:t>Arbeitsmarkt</a:t>
            </a:r>
            <a:r>
              <a:rPr lang="de-DE" sz="1700" dirty="0">
                <a:solidFill>
                  <a:schemeClr val="tx2"/>
                </a:solidFill>
              </a:rPr>
              <a:t> jenseits der Beschäftigung in Form des Normalerwerbsverhältnisses.</a:t>
            </a:r>
          </a:p>
        </p:txBody>
      </p:sp>
    </p:spTree>
    <p:extLst>
      <p:ext uri="{BB962C8B-B14F-4D97-AF65-F5344CB8AC3E}">
        <p14:creationId xmlns:p14="http://schemas.microsoft.com/office/powerpoint/2010/main" val="11531943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83500"/>
            <a:ext cx="7560000" cy="468000"/>
          </a:xfrm>
        </p:spPr>
        <p:txBody>
          <a:bodyPr/>
          <a:lstStyle/>
          <a:p>
            <a:r>
              <a:rPr lang="de-DE" sz="2800" b="0" dirty="0"/>
              <a:t>Arbeit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63" y="771236"/>
            <a:ext cx="9073163" cy="360102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olidFill>
                  <a:schemeClr val="accent2"/>
                </a:solidFill>
              </a:rPr>
              <a:t>Erwerbsarbeit</a:t>
            </a:r>
            <a:r>
              <a:rPr lang="de-DE" sz="1800" b="0" dirty="0"/>
              <a:t>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 = </a:t>
            </a:r>
            <a:r>
              <a:rPr lang="de-DE" sz="1800" dirty="0"/>
              <a:t>Herstellung</a:t>
            </a:r>
            <a:r>
              <a:rPr lang="de-DE" sz="1800" b="0" dirty="0"/>
              <a:t> von </a:t>
            </a:r>
            <a:r>
              <a:rPr lang="de-DE" sz="1800" dirty="0"/>
              <a:t>Gütern oder Leistungen </a:t>
            </a:r>
            <a:r>
              <a:rPr lang="de-DE" sz="1800" b="0" dirty="0"/>
              <a:t>mit dem </a:t>
            </a:r>
            <a:r>
              <a:rPr lang="de-DE" sz="1800" dirty="0"/>
              <a:t>Anspruch weitere Güter </a:t>
            </a:r>
            <a:r>
              <a:rPr lang="de-DE" sz="1800" b="0" dirty="0"/>
              <a:t>zu besitzen. Umfasst sowohl </a:t>
            </a:r>
            <a:r>
              <a:rPr lang="de-DE" sz="1800" dirty="0"/>
              <a:t>außerhäusliche</a:t>
            </a:r>
            <a:r>
              <a:rPr lang="de-DE" sz="1800" b="0" dirty="0"/>
              <a:t> Tätigkeiten &amp; </a:t>
            </a:r>
            <a:r>
              <a:rPr lang="de-DE" sz="1800" dirty="0"/>
              <a:t>selbständige Gewinnbringu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dirty="0"/>
              <a:t>Hausarbeit</a:t>
            </a:r>
            <a:r>
              <a:rPr lang="de-DE" sz="1400" b="0" dirty="0"/>
              <a:t> = Überleben des Haushaltsverbandes  I  </a:t>
            </a:r>
            <a:r>
              <a:rPr lang="de-DE" sz="1400" dirty="0"/>
              <a:t>Care-Arbeit</a:t>
            </a:r>
            <a:r>
              <a:rPr lang="de-DE" sz="1400" b="0" dirty="0"/>
              <a:t>= Fürsorge &amp; Pflege von Haushaltsmitglieder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Trends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/>
              <a:t>Wandel </a:t>
            </a:r>
            <a:r>
              <a:rPr lang="de-DE" sz="1700" dirty="0"/>
              <a:t>zur Dienstleistungs- </a:t>
            </a:r>
            <a:r>
              <a:rPr lang="de-DE" sz="1700" b="0" dirty="0"/>
              <a:t>&amp; Wissensgesellschaft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/>
              <a:t>„Starker Einbezug von Frauen bei ungleicher Beteiligung“ </a:t>
            </a:r>
            <a:r>
              <a:rPr lang="de-DE" sz="1700" b="0" dirty="0"/>
              <a:t>(u.a. Teilzeit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/>
              <a:t>Gender Pay Gab</a:t>
            </a:r>
            <a:r>
              <a:rPr lang="de-DE" sz="1700" b="0" dirty="0"/>
              <a:t>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dirty="0"/>
              <a:t>Rückgang</a:t>
            </a:r>
            <a:r>
              <a:rPr lang="de-DE" sz="1700" b="0" dirty="0"/>
              <a:t> des </a:t>
            </a:r>
            <a:r>
              <a:rPr lang="de-DE" sz="1700" dirty="0"/>
              <a:t>Normalarbeitsverhältnisses</a:t>
            </a:r>
            <a:r>
              <a:rPr lang="de-DE" sz="1700" b="0" dirty="0"/>
              <a:t> + Zunahme </a:t>
            </a:r>
            <a:r>
              <a:rPr lang="de-DE" sz="1700" dirty="0"/>
              <a:t>atypische Beschäftigung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700" b="0" dirty="0"/>
              <a:t>Phänomen: </a:t>
            </a:r>
            <a:r>
              <a:rPr lang="de-DE" sz="1700" dirty="0"/>
              <a:t>Erwerbsarmut (8%</a:t>
            </a:r>
            <a:r>
              <a:rPr lang="de-DE" sz="1700" b="0" dirty="0"/>
              <a:t> der Erwerbstätigen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                                   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8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8438174-594E-CCA5-97CD-5173ED49478F}"/>
              </a:ext>
            </a:extLst>
          </p:cNvPr>
          <p:cNvSpPr txBox="1"/>
          <p:nvPr/>
        </p:nvSpPr>
        <p:spPr>
          <a:xfrm>
            <a:off x="2419927" y="3188560"/>
            <a:ext cx="659476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700" b="0" dirty="0">
                <a:solidFill>
                  <a:schemeClr val="tx2"/>
                </a:solidFill>
              </a:rPr>
              <a:t>4,37€ p. Std. (2/3 strukturbedingte &amp; 1/3 benachteiligte Faktoren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7557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238" y="165573"/>
            <a:ext cx="8365523" cy="1094509"/>
          </a:xfrm>
        </p:spPr>
        <p:txBody>
          <a:bodyPr>
            <a:noAutofit/>
          </a:bodyPr>
          <a:lstStyle/>
          <a:p>
            <a:r>
              <a:rPr lang="de-DE" sz="2800" b="1" i="1" dirty="0">
                <a:solidFill>
                  <a:srgbClr val="002060"/>
                </a:solidFill>
              </a:rPr>
              <a:t>(18) Armu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569033" y="1260082"/>
            <a:ext cx="867989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2"/>
                </a:solidFill>
              </a:rPr>
              <a:t>(1) Sie kennen </a:t>
            </a:r>
            <a:r>
              <a:rPr lang="de-DE" sz="2000" b="1" dirty="0">
                <a:solidFill>
                  <a:schemeClr val="tx2"/>
                </a:solidFill>
              </a:rPr>
              <a:t>zentrale Begrifflichkeiten </a:t>
            </a:r>
            <a:r>
              <a:rPr lang="de-DE" sz="2000" dirty="0">
                <a:solidFill>
                  <a:schemeClr val="tx2"/>
                </a:solidFill>
              </a:rPr>
              <a:t>der Bildungssoziologie, z.B. </a:t>
            </a:r>
            <a:r>
              <a:rPr lang="de-DE" sz="2000" b="1" dirty="0">
                <a:solidFill>
                  <a:schemeClr val="tx2"/>
                </a:solidFill>
              </a:rPr>
              <a:t>Einkommensarmut</a:t>
            </a:r>
            <a:r>
              <a:rPr lang="de-DE" sz="2000" dirty="0">
                <a:solidFill>
                  <a:schemeClr val="tx2"/>
                </a:solidFill>
              </a:rPr>
              <a:t> und </a:t>
            </a:r>
            <a:r>
              <a:rPr lang="de-DE" sz="2000" b="1" dirty="0">
                <a:solidFill>
                  <a:schemeClr val="tx2"/>
                </a:solidFill>
              </a:rPr>
              <a:t>Bildungsarmut</a:t>
            </a:r>
            <a:r>
              <a:rPr lang="de-DE" sz="2000" dirty="0">
                <a:solidFill>
                  <a:schemeClr val="tx2"/>
                </a:solidFill>
              </a:rPr>
              <a:t>, und können diese definieren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2) Sie wissen, wie Armut in </a:t>
            </a:r>
            <a:r>
              <a:rPr lang="de-DE" sz="2000" b="1" dirty="0">
                <a:solidFill>
                  <a:schemeClr val="tx2"/>
                </a:solidFill>
              </a:rPr>
              <a:t>verschiedenen wohlfahrtsgesellschaftlichen Kontexten </a:t>
            </a:r>
            <a:r>
              <a:rPr lang="de-DE" sz="2000" dirty="0">
                <a:solidFill>
                  <a:schemeClr val="tx2"/>
                </a:solidFill>
              </a:rPr>
              <a:t>gemessen wird.</a:t>
            </a:r>
          </a:p>
          <a:p>
            <a:endParaRPr lang="de-DE" sz="2000" dirty="0">
              <a:solidFill>
                <a:schemeClr val="tx2"/>
              </a:solidFill>
            </a:endParaRPr>
          </a:p>
          <a:p>
            <a:r>
              <a:rPr lang="de-DE" sz="2000" dirty="0">
                <a:solidFill>
                  <a:schemeClr val="tx2"/>
                </a:solidFill>
              </a:rPr>
              <a:t>(3) Sie kennen die hauptsächlich von Armut </a:t>
            </a:r>
            <a:r>
              <a:rPr lang="de-DE" sz="2000" b="1" dirty="0">
                <a:solidFill>
                  <a:schemeClr val="tx2"/>
                </a:solidFill>
              </a:rPr>
              <a:t>betroffenen Risikogruppen</a:t>
            </a:r>
            <a:r>
              <a:rPr lang="de-DE" sz="2000" dirty="0">
                <a:solidFill>
                  <a:schemeClr val="tx2"/>
                </a:solidFill>
              </a:rPr>
              <a:t>, die individuellen </a:t>
            </a:r>
            <a:r>
              <a:rPr lang="de-DE" sz="2000" b="1" dirty="0">
                <a:solidFill>
                  <a:schemeClr val="tx2"/>
                </a:solidFill>
              </a:rPr>
              <a:t>Begleiterscheinungen</a:t>
            </a:r>
            <a:r>
              <a:rPr lang="de-DE" sz="2000" dirty="0">
                <a:solidFill>
                  <a:schemeClr val="tx2"/>
                </a:solidFill>
              </a:rPr>
              <a:t> von Armut und </a:t>
            </a:r>
            <a:r>
              <a:rPr lang="de-DE" sz="2000" b="1" dirty="0">
                <a:solidFill>
                  <a:schemeClr val="tx2"/>
                </a:solidFill>
              </a:rPr>
              <a:t>aktuelle Trends der Armutsentwicklung.</a:t>
            </a:r>
          </a:p>
        </p:txBody>
      </p:sp>
    </p:spTree>
    <p:extLst>
      <p:ext uri="{BB962C8B-B14F-4D97-AF65-F5344CB8AC3E}">
        <p14:creationId xmlns:p14="http://schemas.microsoft.com/office/powerpoint/2010/main" val="1081358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49518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/>
              <a:t>Moderne Gesellschaft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AE0A09-480E-44F6-BDAB-8FE8A65C6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5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1785" y="831196"/>
            <a:ext cx="4842360" cy="3756262"/>
          </a:xfrm>
        </p:spPr>
        <p:txBody>
          <a:bodyPr/>
          <a:lstStyle/>
          <a:p>
            <a:r>
              <a:rPr lang="de-DE" sz="1600" b="0" dirty="0"/>
              <a:t>Fünf</a:t>
            </a:r>
            <a:r>
              <a:rPr lang="de-DE" sz="1600" dirty="0"/>
              <a:t> </a:t>
            </a:r>
            <a:r>
              <a:rPr lang="de-DE" sz="1600" dirty="0">
                <a:solidFill>
                  <a:schemeClr val="accent2"/>
                </a:solidFill>
              </a:rPr>
              <a:t>Kennzeichen</a:t>
            </a:r>
            <a:r>
              <a:rPr lang="de-DE" sz="1600" dirty="0"/>
              <a:t>: </a:t>
            </a:r>
          </a:p>
          <a:p>
            <a:r>
              <a:rPr lang="de-DE" sz="1600" b="0" dirty="0"/>
              <a:t>1) Hohen Grad an </a:t>
            </a:r>
            <a:r>
              <a:rPr lang="de-DE" sz="1600" dirty="0"/>
              <a:t>Arbeitsteilung</a:t>
            </a:r>
          </a:p>
          <a:p>
            <a:r>
              <a:rPr lang="de-DE" sz="1600" b="0" dirty="0"/>
              <a:t>2) </a:t>
            </a:r>
            <a:r>
              <a:rPr lang="de-DE" sz="1600" dirty="0"/>
              <a:t>Vollinklusion</a:t>
            </a:r>
            <a:r>
              <a:rPr lang="de-DE" sz="1600" b="0" dirty="0"/>
              <a:t> der Bevölkerung ins </a:t>
            </a:r>
            <a:r>
              <a:rPr lang="de-DE" sz="1600" dirty="0"/>
              <a:t>Bildungssystem</a:t>
            </a:r>
            <a:r>
              <a:rPr lang="de-DE" sz="1600" b="0" dirty="0"/>
              <a:t> </a:t>
            </a:r>
          </a:p>
          <a:p>
            <a:r>
              <a:rPr lang="de-DE" sz="1600" b="0" dirty="0"/>
              <a:t>3) </a:t>
            </a:r>
            <a:r>
              <a:rPr lang="de-DE" sz="1600" dirty="0"/>
              <a:t>Positiven Rechts </a:t>
            </a:r>
            <a:r>
              <a:rPr lang="de-DE" sz="1600" b="0" dirty="0"/>
              <a:t>zur Konfliktregelungsstrategie</a:t>
            </a:r>
          </a:p>
          <a:p>
            <a:r>
              <a:rPr lang="de-DE" sz="1600" b="0" dirty="0"/>
              <a:t>4)  </a:t>
            </a:r>
            <a:r>
              <a:rPr lang="de-DE" sz="1600" dirty="0"/>
              <a:t>Universalistische</a:t>
            </a:r>
            <a:r>
              <a:rPr lang="de-DE" sz="1600" b="0" dirty="0"/>
              <a:t> Werte</a:t>
            </a:r>
          </a:p>
          <a:p>
            <a:r>
              <a:rPr lang="de-DE" sz="1600" b="0" dirty="0"/>
              <a:t>5) </a:t>
            </a:r>
            <a:r>
              <a:rPr lang="de-DE" sz="1600" dirty="0"/>
              <a:t>Kapitalistische</a:t>
            </a:r>
            <a:r>
              <a:rPr lang="de-DE" sz="1600" b="0" dirty="0"/>
              <a:t> Organisation</a:t>
            </a:r>
          </a:p>
          <a:p>
            <a:r>
              <a:rPr lang="de-DE" sz="1600" b="0" dirty="0"/>
              <a:t>6) Bevorzugung </a:t>
            </a:r>
            <a:r>
              <a:rPr lang="de-DE" sz="1600" dirty="0"/>
              <a:t>demokratischen Staatsformen</a:t>
            </a:r>
          </a:p>
          <a:p>
            <a:endParaRPr lang="de-DE" sz="1800" dirty="0"/>
          </a:p>
        </p:txBody>
      </p:sp>
      <p:sp>
        <p:nvSpPr>
          <p:cNvPr id="2" name="Inhaltsplatzhalter 5">
            <a:extLst>
              <a:ext uri="{FF2B5EF4-FFF2-40B4-BE49-F238E27FC236}">
                <a16:creationId xmlns:a16="http://schemas.microsoft.com/office/drawing/2014/main" id="{13051118-FAF6-A6DC-17ED-C03C97782A85}"/>
              </a:ext>
            </a:extLst>
          </p:cNvPr>
          <p:cNvSpPr txBox="1">
            <a:spLocks/>
          </p:cNvSpPr>
          <p:nvPr/>
        </p:nvSpPr>
        <p:spPr>
          <a:xfrm>
            <a:off x="5037930" y="831196"/>
            <a:ext cx="4106070" cy="272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+mj-lt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0" dirty="0"/>
              <a:t>Vereint </a:t>
            </a:r>
            <a:r>
              <a:rPr lang="de-DE" sz="1600" dirty="0">
                <a:solidFill>
                  <a:schemeClr val="accent2"/>
                </a:solidFill>
              </a:rPr>
              <a:t>Formen</a:t>
            </a:r>
            <a:r>
              <a:rPr lang="de-DE" sz="1600" b="0" dirty="0"/>
              <a:t>: </a:t>
            </a:r>
          </a:p>
          <a:p>
            <a:r>
              <a:rPr lang="de-DE" sz="1600" dirty="0"/>
              <a:t>1) Nationalstaat</a:t>
            </a:r>
            <a:r>
              <a:rPr lang="de-DE" sz="1600" b="0" dirty="0"/>
              <a:t> definiert Zugehörigkeit (über Staatsbürgerschaft)</a:t>
            </a:r>
          </a:p>
          <a:p>
            <a:r>
              <a:rPr lang="de-DE" sz="1600" dirty="0"/>
              <a:t>2) Wohlfahrtsstaat</a:t>
            </a:r>
            <a:r>
              <a:rPr lang="de-DE" sz="1600" b="0" dirty="0"/>
              <a:t> mit Versorgungssicherheiten</a:t>
            </a:r>
          </a:p>
          <a:p>
            <a:r>
              <a:rPr lang="de-DE" sz="1600" dirty="0"/>
              <a:t>3) Rechtsstaat</a:t>
            </a:r>
            <a:r>
              <a:rPr lang="de-DE" sz="1600" b="0" dirty="0"/>
              <a:t>                                           (Rechtssystem, Absicherung durch Gesetze)</a:t>
            </a:r>
          </a:p>
          <a:p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307257813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38" y="121117"/>
            <a:ext cx="7560000" cy="468000"/>
          </a:xfrm>
        </p:spPr>
        <p:txBody>
          <a:bodyPr/>
          <a:lstStyle/>
          <a:p>
            <a:r>
              <a:rPr lang="de-DE" dirty="0"/>
              <a:t>Armut: Defini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257" y="621110"/>
            <a:ext cx="8613728" cy="390128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400" b="0" dirty="0"/>
              <a:t>1) </a:t>
            </a:r>
            <a:r>
              <a:rPr lang="de-DE" sz="1400" dirty="0">
                <a:solidFill>
                  <a:schemeClr val="accent2"/>
                </a:solidFill>
              </a:rPr>
              <a:t>Absolute</a:t>
            </a:r>
            <a:r>
              <a:rPr lang="de-DE" sz="1400" dirty="0"/>
              <a:t> </a:t>
            </a:r>
            <a:r>
              <a:rPr lang="de-DE" sz="1400" b="0" dirty="0"/>
              <a:t>Armu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400" b="0" dirty="0"/>
              <a:t>= </a:t>
            </a:r>
            <a:r>
              <a:rPr lang="de-DE" sz="1400" dirty="0"/>
              <a:t>Unterschreitung</a:t>
            </a:r>
            <a:r>
              <a:rPr lang="de-DE" sz="1400" b="0" dirty="0"/>
              <a:t> absoluten </a:t>
            </a:r>
            <a:r>
              <a:rPr lang="de-DE" sz="1400" dirty="0"/>
              <a:t>physischen Existenzminimums </a:t>
            </a:r>
          </a:p>
          <a:p>
            <a:pPr marL="342900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b="0" dirty="0"/>
              <a:t>Umfasst etwa </a:t>
            </a:r>
            <a:r>
              <a:rPr lang="de-DE" sz="1400" dirty="0"/>
              <a:t>1.25 US-Dollar </a:t>
            </a:r>
            <a:r>
              <a:rPr lang="de-DE" sz="1400" b="0" dirty="0"/>
              <a:t>p Tag (laut Weltbank)  </a:t>
            </a:r>
            <a:r>
              <a:rPr lang="de-DE" sz="1400" b="0" dirty="0">
                <a:sym typeface="Wingdings" panose="05000000000000000000" pitchFamily="2" charset="2"/>
              </a:rPr>
              <a:t> 1,2 Mrd. Menschen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400" b="0" dirty="0"/>
              <a:t>2) </a:t>
            </a:r>
            <a:r>
              <a:rPr lang="de-DE" sz="1400" dirty="0">
                <a:solidFill>
                  <a:schemeClr val="accent2"/>
                </a:solidFill>
              </a:rPr>
              <a:t>Relative</a:t>
            </a:r>
            <a:r>
              <a:rPr lang="de-DE" sz="1400" dirty="0"/>
              <a:t> </a:t>
            </a:r>
            <a:r>
              <a:rPr lang="de-DE" sz="1400" b="0" dirty="0"/>
              <a:t>Armut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400" b="0" dirty="0"/>
              <a:t>= Person kann </a:t>
            </a:r>
            <a:r>
              <a:rPr lang="de-DE" sz="1400" dirty="0"/>
              <a:t>Lebensstandard</a:t>
            </a:r>
            <a:r>
              <a:rPr lang="de-DE" sz="1400" b="0" dirty="0"/>
              <a:t> </a:t>
            </a:r>
            <a:r>
              <a:rPr lang="de-DE" sz="1400" dirty="0"/>
              <a:t>nicht</a:t>
            </a:r>
            <a:r>
              <a:rPr lang="de-DE" sz="1400" b="0" dirty="0"/>
              <a:t> mit eigenen Kräften bestreiten  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ichtet sich nach </a:t>
            </a:r>
            <a:r>
              <a:rPr lang="de-DE" sz="1400" b="0" dirty="0"/>
              <a:t>einem</a:t>
            </a:r>
            <a:r>
              <a:rPr lang="de-DE" sz="1400" dirty="0"/>
              <a:t> Existenzminimum</a:t>
            </a:r>
            <a:r>
              <a:rPr lang="de-DE" sz="1400" b="0" dirty="0"/>
              <a:t>  </a:t>
            </a:r>
            <a:r>
              <a:rPr lang="de-DE" sz="1400" b="0" dirty="0">
                <a:sym typeface="Wingdings" panose="05000000000000000000" pitchFamily="2" charset="2"/>
              </a:rPr>
              <a:t> in DE </a:t>
            </a:r>
            <a:r>
              <a:rPr lang="de-DE" sz="1400" b="0" dirty="0"/>
              <a:t>: </a:t>
            </a:r>
            <a:r>
              <a:rPr lang="de-DE" sz="1400" dirty="0">
                <a:solidFill>
                  <a:schemeClr val="accent2"/>
                </a:solidFill>
              </a:rPr>
              <a:t>weniger als</a:t>
            </a:r>
            <a:r>
              <a:rPr lang="de-DE" sz="1400" b="0" dirty="0">
                <a:solidFill>
                  <a:schemeClr val="accent2"/>
                </a:solidFill>
              </a:rPr>
              <a:t> </a:t>
            </a:r>
            <a:r>
              <a:rPr lang="de-DE" sz="1400" dirty="0">
                <a:solidFill>
                  <a:schemeClr val="accent2"/>
                </a:solidFill>
              </a:rPr>
              <a:t>60% </a:t>
            </a:r>
            <a:r>
              <a:rPr lang="de-DE" sz="1400" dirty="0"/>
              <a:t>des </a:t>
            </a:r>
            <a:r>
              <a:rPr lang="de-DE" sz="1400" dirty="0">
                <a:solidFill>
                  <a:schemeClr val="accent2"/>
                </a:solidFill>
              </a:rPr>
              <a:t>Medians vom Nettoäquivalenzeinkommen</a:t>
            </a:r>
            <a:r>
              <a:rPr lang="de-DE" sz="1400" b="0" dirty="0">
                <a:solidFill>
                  <a:schemeClr val="accent2"/>
                </a:solidFill>
              </a:rPr>
              <a:t>                                                                                                                      </a:t>
            </a:r>
            <a:r>
              <a:rPr lang="de-DE" sz="1000" b="0" dirty="0"/>
              <a:t>(Nettoäquivalenzeinkommen sprich: Einkommen nach Steuer- und Sozialabgaben, Gewichtet durch Köpfe pro Haushalt)                     (Median= Die Mitte aller aufgereihten Einkommen)</a:t>
            </a:r>
            <a:endParaRPr lang="de-DE" sz="14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400" b="0" dirty="0"/>
              <a:t>1)  </a:t>
            </a:r>
            <a:r>
              <a:rPr lang="de-DE" sz="1400" dirty="0">
                <a:solidFill>
                  <a:schemeClr val="accent2"/>
                </a:solidFill>
              </a:rPr>
              <a:t>Absolute</a:t>
            </a:r>
            <a:r>
              <a:rPr lang="de-DE" sz="1400" b="0" dirty="0"/>
              <a:t> Bildungsarmut </a:t>
            </a:r>
            <a:r>
              <a:rPr lang="de-DE" sz="1400" dirty="0"/>
              <a:t> 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400" b="0" dirty="0"/>
              <a:t> = funktionaler </a:t>
            </a:r>
            <a:r>
              <a:rPr lang="de-DE" sz="1400" dirty="0"/>
              <a:t>Analphabetismus</a:t>
            </a:r>
            <a:r>
              <a:rPr lang="de-DE" sz="1400" b="0" dirty="0"/>
              <a:t> oder </a:t>
            </a:r>
            <a:r>
              <a:rPr lang="de-DE" sz="1400" dirty="0"/>
              <a:t>fehlender Schulabschluss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400" b="0" dirty="0"/>
              <a:t>2)  </a:t>
            </a:r>
            <a:r>
              <a:rPr lang="de-DE" sz="1400" dirty="0">
                <a:solidFill>
                  <a:schemeClr val="accent2"/>
                </a:solidFill>
              </a:rPr>
              <a:t>Relative </a:t>
            </a:r>
            <a:r>
              <a:rPr lang="de-DE" sz="1400" b="0" dirty="0"/>
              <a:t>Bildungsarmut</a:t>
            </a:r>
            <a:r>
              <a:rPr lang="de-DE" sz="1400" b="0" dirty="0">
                <a:solidFill>
                  <a:schemeClr val="accent2"/>
                </a:solidFill>
              </a:rPr>
              <a:t> </a:t>
            </a:r>
          </a:p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de-DE" sz="1400" b="0" dirty="0"/>
              <a:t>= unterm Mindestmaß </a:t>
            </a:r>
            <a:r>
              <a:rPr lang="de-DE" sz="1400" b="0" dirty="0">
                <a:sym typeface="Wingdings" panose="05000000000000000000" pitchFamily="2" charset="2"/>
              </a:rPr>
              <a:t> </a:t>
            </a:r>
            <a:r>
              <a:rPr lang="de-DE" sz="1400" dirty="0">
                <a:sym typeface="Wingdings" panose="05000000000000000000" pitchFamily="2" charset="2"/>
              </a:rPr>
              <a:t>geringfügiger Bildungsabschlüsse</a:t>
            </a:r>
            <a:r>
              <a:rPr lang="de-DE" sz="1400" b="0" dirty="0">
                <a:sym typeface="Wingdings" panose="05000000000000000000" pitchFamily="2" charset="2"/>
              </a:rPr>
              <a:t> oder </a:t>
            </a:r>
            <a:r>
              <a:rPr lang="de-DE" sz="1400" dirty="0">
                <a:sym typeface="Wingdings" panose="05000000000000000000" pitchFamily="2" charset="2"/>
              </a:rPr>
              <a:t>deutlich unterdurchschnittliche Leistungen </a:t>
            </a:r>
            <a:r>
              <a:rPr lang="de-DE" sz="1400" b="0" dirty="0">
                <a:sym typeface="Wingdings" panose="05000000000000000000" pitchFamily="2" charset="2"/>
              </a:rPr>
              <a:t>( unterstes Bildungsquantil)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100" b="0" dirty="0"/>
          </a:p>
          <a:p>
            <a:pPr>
              <a:lnSpc>
                <a:spcPct val="100000"/>
              </a:lnSpc>
              <a:spcAft>
                <a:spcPts val="800"/>
              </a:spcAft>
            </a:pPr>
            <a:endParaRPr lang="de-DE" sz="180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0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320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5814" y="3110917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1200" dirty="0"/>
              <a:t>Kontakt: Stina.runtemund@ruhr-uni-bochum.d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>
              <a:solidFill>
                <a:schemeClr val="tx2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4E70323-0BA9-6C13-AD8D-63849D67221F}"/>
              </a:ext>
            </a:extLst>
          </p:cNvPr>
          <p:cNvSpPr txBox="1">
            <a:spLocks/>
          </p:cNvSpPr>
          <p:nvPr/>
        </p:nvSpPr>
        <p:spPr>
          <a:xfrm>
            <a:off x="1116013" y="2571749"/>
            <a:ext cx="7872875" cy="996257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600" b="0" kern="1200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200" dirty="0"/>
              <a:t>Unendlich viel Erfolg für die Klausur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50425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dirty="0"/>
              <a:t>Historische Verortung</a:t>
            </a:r>
            <a:r>
              <a:rPr lang="de-DE" sz="2800" b="0" dirty="0"/>
              <a:t>: Moderne</a:t>
            </a:r>
            <a:br>
              <a:rPr lang="de-DE" sz="2800" b="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15566"/>
            <a:ext cx="8370000" cy="1896214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idealtypisches Epochenschem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000" b="0" dirty="0"/>
          </a:p>
        </p:txBody>
      </p:sp>
      <p:graphicFrame>
        <p:nvGraphicFramePr>
          <p:cNvPr id="3" name="Tabelle 5">
            <a:extLst>
              <a:ext uri="{FF2B5EF4-FFF2-40B4-BE49-F238E27FC236}">
                <a16:creationId xmlns:a16="http://schemas.microsoft.com/office/drawing/2014/main" id="{C4EA4AB3-B204-E2CE-3C9A-B622B75AA3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7430769"/>
              </p:ext>
            </p:extLst>
          </p:nvPr>
        </p:nvGraphicFramePr>
        <p:xfrm>
          <a:off x="364652" y="1381231"/>
          <a:ext cx="8496000" cy="2019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849">
                  <a:extLst>
                    <a:ext uri="{9D8B030D-6E8A-4147-A177-3AD203B41FA5}">
                      <a16:colId xmlns:a16="http://schemas.microsoft.com/office/drawing/2014/main" val="1513174235"/>
                    </a:ext>
                  </a:extLst>
                </a:gridCol>
                <a:gridCol w="2967990">
                  <a:extLst>
                    <a:ext uri="{9D8B030D-6E8A-4147-A177-3AD203B41FA5}">
                      <a16:colId xmlns:a16="http://schemas.microsoft.com/office/drawing/2014/main" val="1882802984"/>
                    </a:ext>
                  </a:extLst>
                </a:gridCol>
                <a:gridCol w="3242161">
                  <a:extLst>
                    <a:ext uri="{9D8B030D-6E8A-4147-A177-3AD203B41FA5}">
                      <a16:colId xmlns:a16="http://schemas.microsoft.com/office/drawing/2014/main" val="1051657251"/>
                    </a:ext>
                  </a:extLst>
                </a:gridCol>
              </a:tblGrid>
              <a:tr h="228145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Courier New" panose="02070309020205020404" pitchFamily="49" charset="0"/>
                        <a:buNone/>
                      </a:pPr>
                      <a:r>
                        <a:rPr lang="de-DE" sz="1400" dirty="0">
                          <a:sym typeface="Wingdings" panose="05000000000000000000" pitchFamily="2" charset="2"/>
                        </a:rPr>
                        <a:t>Frühmoderne 16-18 Jh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Courier New" panose="02070309020205020404" pitchFamily="49" charset="0"/>
                        <a:buNone/>
                      </a:pPr>
                      <a:r>
                        <a:rPr lang="de-DE" sz="1400" b="1" dirty="0">
                          <a:sym typeface="Wingdings" panose="05000000000000000000" pitchFamily="2" charset="2"/>
                        </a:rPr>
                        <a:t>Hochmoderne 19-20 Jhd</a:t>
                      </a:r>
                      <a:r>
                        <a:rPr lang="de-DE" sz="1200" b="1" dirty="0"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ym typeface="Wingdings" panose="05000000000000000000" pitchFamily="2" charset="2"/>
                        </a:rPr>
                        <a:t>Spätmoderne ab 1970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4570822"/>
                  </a:ext>
                </a:extLst>
              </a:tr>
              <a:tr h="532706"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b="1" dirty="0"/>
                    </a:p>
                    <a:p>
                      <a:endParaRPr lang="de-DE" b="1" dirty="0"/>
                    </a:p>
                    <a:p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5282872"/>
                  </a:ext>
                </a:extLst>
              </a:tr>
              <a:tr h="376440"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6132947"/>
                  </a:ext>
                </a:extLst>
              </a:tr>
              <a:tr h="376440"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1678900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168B3B23-B06A-529E-FB56-B8BC66EF21C1}"/>
              </a:ext>
            </a:extLst>
          </p:cNvPr>
          <p:cNvSpPr txBox="1"/>
          <p:nvPr/>
        </p:nvSpPr>
        <p:spPr>
          <a:xfrm>
            <a:off x="306812" y="1610044"/>
            <a:ext cx="2590379" cy="2023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Frühkapitalistische Wirtschaftsstrukturen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Entstehung des frühmodernen Staates </a:t>
            </a: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Neue Wissenschaftstechniken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D1221E4-B07E-54C3-B88B-E5443B834047}"/>
              </a:ext>
            </a:extLst>
          </p:cNvPr>
          <p:cNvSpPr txBox="1"/>
          <p:nvPr/>
        </p:nvSpPr>
        <p:spPr>
          <a:xfrm>
            <a:off x="2563501" y="1646693"/>
            <a:ext cx="3213843" cy="2023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strike="noStrike" kern="1200" dirty="0">
                <a:effectLst/>
                <a:latin typeface="Arial" panose="020B0604020202020204" pitchFamily="34" charset="0"/>
              </a:rPr>
              <a:t>Tiefgreifende Industrialisierung </a:t>
            </a: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&amp; Abschied Agrarwirtschaft </a:t>
            </a: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Ungebremstes Fortschrittsdenken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Nationalstaatsbildung 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604F474-5D87-6F0D-B896-85B0C75AC65A}"/>
              </a:ext>
            </a:extLst>
          </p:cNvPr>
          <p:cNvSpPr txBox="1"/>
          <p:nvPr/>
        </p:nvSpPr>
        <p:spPr>
          <a:xfrm>
            <a:off x="5547360" y="1646693"/>
            <a:ext cx="3621286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Soziale Absicherung Bevölkerung     &amp; Bildungsexpansion  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kern="1200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500" i="0" u="none" strike="noStrike" kern="1200" dirty="0">
                <a:effectLst/>
                <a:latin typeface="Arial" panose="020B0604020202020204" pitchFamily="34" charset="0"/>
              </a:rPr>
              <a:t>Aufstieg zum </a:t>
            </a:r>
            <a:r>
              <a:rPr lang="de-DE" sz="1500" b="1" i="0" u="none" strike="noStrike" kern="1200" dirty="0">
                <a:effectLst/>
                <a:latin typeface="Arial" panose="020B0604020202020204" pitchFamily="34" charset="0"/>
              </a:rPr>
              <a:t>Dienstleistungssektor</a:t>
            </a:r>
            <a:endParaRPr lang="de-DE" sz="1500" b="1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de-DE" sz="160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500" i="0" u="none" strike="noStrike" kern="1200" dirty="0">
                <a:effectLst/>
                <a:latin typeface="Arial" panose="020B0604020202020204" pitchFamily="34" charset="0"/>
              </a:rPr>
              <a:t>Fortschrittskritik</a:t>
            </a: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 (Grenzen des Wachstums/</a:t>
            </a:r>
            <a:r>
              <a:rPr lang="de-DE" sz="1600" dirty="0">
                <a:latin typeface="Arial" panose="020B0604020202020204" pitchFamily="34" charset="0"/>
              </a:rPr>
              <a:t>K</a:t>
            </a:r>
            <a:r>
              <a:rPr lang="de-DE" sz="1600" i="0" u="none" strike="noStrike" kern="1200" dirty="0">
                <a:effectLst/>
                <a:latin typeface="Arial" panose="020B0604020202020204" pitchFamily="34" charset="0"/>
              </a:rPr>
              <a:t>risen/Ressourcen)</a:t>
            </a:r>
            <a:endParaRPr lang="de-DE" sz="1600" i="0" u="none" strike="noStrike" dirty="0">
              <a:effectLst/>
              <a:latin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1EBED62-0A09-7B33-BBD0-39432914D988}"/>
              </a:ext>
            </a:extLst>
          </p:cNvPr>
          <p:cNvSpPr txBox="1"/>
          <p:nvPr/>
        </p:nvSpPr>
        <p:spPr>
          <a:xfrm>
            <a:off x="384766" y="3483186"/>
            <a:ext cx="87838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>
                <a:sym typeface="Wingdings" panose="05000000000000000000" pitchFamily="2" charset="2"/>
              </a:rPr>
              <a:t>Von:                                                                                                                       Ausdehnung Wertstrukturen </a:t>
            </a:r>
            <a:endParaRPr lang="de-DE" dirty="0"/>
          </a:p>
        </p:txBody>
      </p:sp>
      <p:sp>
        <p:nvSpPr>
          <p:cNvPr id="12" name="Sprechblase: rechteckig mit abgerundeten Ecken 11">
            <a:extLst>
              <a:ext uri="{FF2B5EF4-FFF2-40B4-BE49-F238E27FC236}">
                <a16:creationId xmlns:a16="http://schemas.microsoft.com/office/drawing/2014/main" id="{EE6A8082-CCF3-940B-4203-E05E7DB9391D}"/>
              </a:ext>
            </a:extLst>
          </p:cNvPr>
          <p:cNvSpPr/>
          <p:nvPr/>
        </p:nvSpPr>
        <p:spPr>
          <a:xfrm>
            <a:off x="884744" y="3461907"/>
            <a:ext cx="1491782" cy="350336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Zentral Europa</a:t>
            </a:r>
          </a:p>
        </p:txBody>
      </p:sp>
      <p:sp>
        <p:nvSpPr>
          <p:cNvPr id="13" name="Sprechblase: rechteckig mit abgerundeten Ecken 12">
            <a:extLst>
              <a:ext uri="{FF2B5EF4-FFF2-40B4-BE49-F238E27FC236}">
                <a16:creationId xmlns:a16="http://schemas.microsoft.com/office/drawing/2014/main" id="{5C433220-BA12-2DC6-5CBA-03BF1F197798}"/>
              </a:ext>
            </a:extLst>
          </p:cNvPr>
          <p:cNvSpPr/>
          <p:nvPr/>
        </p:nvSpPr>
        <p:spPr>
          <a:xfrm>
            <a:off x="3045505" y="3461906"/>
            <a:ext cx="1491782" cy="350336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In west. Welt</a:t>
            </a:r>
          </a:p>
        </p:txBody>
      </p:sp>
      <p:sp>
        <p:nvSpPr>
          <p:cNvPr id="14" name="Sprechblase: rechteckig mit abgerundeten Ecken 13">
            <a:extLst>
              <a:ext uri="{FF2B5EF4-FFF2-40B4-BE49-F238E27FC236}">
                <a16:creationId xmlns:a16="http://schemas.microsoft.com/office/drawing/2014/main" id="{5F57B453-5FA6-3E10-1B9E-B84A9B4BADAE}"/>
              </a:ext>
            </a:extLst>
          </p:cNvPr>
          <p:cNvSpPr/>
          <p:nvPr/>
        </p:nvSpPr>
        <p:spPr>
          <a:xfrm>
            <a:off x="5372546" y="3475351"/>
            <a:ext cx="1313633" cy="336891"/>
          </a:xfrm>
          <a:prstGeom prst="wedgeRoundRectCallout">
            <a:avLst>
              <a:gd name="adj1" fmla="val -20833"/>
              <a:gd name="adj2" fmla="val 62500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Global</a:t>
            </a:r>
          </a:p>
        </p:txBody>
      </p:sp>
    </p:spTree>
    <p:extLst>
      <p:ext uri="{BB962C8B-B14F-4D97-AF65-F5344CB8AC3E}">
        <p14:creationId xmlns:p14="http://schemas.microsoft.com/office/powerpoint/2010/main" val="3858679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1BCC41-B6DA-44FF-9A35-BC5F1FD3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2011" y="444731"/>
            <a:ext cx="8365523" cy="1790700"/>
          </a:xfrm>
        </p:spPr>
        <p:txBody>
          <a:bodyPr>
            <a:noAutofit/>
          </a:bodyPr>
          <a:lstStyle/>
          <a:p>
            <a:br>
              <a:rPr lang="de-DE" sz="3300" dirty="0"/>
            </a:br>
            <a:br>
              <a:rPr lang="de-DE" sz="3600" b="1" i="1" dirty="0"/>
            </a:br>
            <a:r>
              <a:rPr lang="de-DE" sz="2800" b="1" i="1" dirty="0"/>
              <a:t>(2) Was ist Sozialstruktur und wie arbeitet die Sozialstrukturanalyse?</a:t>
            </a:r>
            <a:endParaRPr lang="de-DE" sz="2800" b="1" i="1" dirty="0">
              <a:solidFill>
                <a:srgbClr val="00206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EBE899E-D4B3-37EB-C706-EE2BF648C3A7}"/>
              </a:ext>
            </a:extLst>
          </p:cNvPr>
          <p:cNvSpPr txBox="1"/>
          <p:nvPr/>
        </p:nvSpPr>
        <p:spPr>
          <a:xfrm>
            <a:off x="733927" y="2571750"/>
            <a:ext cx="7676147" cy="1217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dirty="0">
                <a:solidFill>
                  <a:srgbClr val="002060"/>
                </a:solidFill>
              </a:rPr>
              <a:t>(1) Sie können </a:t>
            </a:r>
            <a:r>
              <a:rPr lang="de-DE" sz="2100" b="1" dirty="0">
                <a:solidFill>
                  <a:srgbClr val="002060"/>
                </a:solidFill>
              </a:rPr>
              <a:t>'Sozialstruktur' definieren.</a:t>
            </a:r>
          </a:p>
          <a:p>
            <a:r>
              <a:rPr lang="de-DE" sz="2100" dirty="0">
                <a:solidFill>
                  <a:srgbClr val="002060"/>
                </a:solidFill>
              </a:rPr>
              <a:t>(2) Sie kennen verschiedene </a:t>
            </a:r>
            <a:r>
              <a:rPr lang="de-DE" sz="2100" b="1" dirty="0">
                <a:solidFill>
                  <a:srgbClr val="002060"/>
                </a:solidFill>
              </a:rPr>
              <a:t>Datenarten</a:t>
            </a:r>
            <a:r>
              <a:rPr lang="de-DE" sz="2100" dirty="0">
                <a:solidFill>
                  <a:srgbClr val="002060"/>
                </a:solidFill>
              </a:rPr>
              <a:t> und </a:t>
            </a:r>
            <a:r>
              <a:rPr lang="de-DE" sz="2100" b="1" dirty="0">
                <a:solidFill>
                  <a:srgbClr val="002060"/>
                </a:solidFill>
              </a:rPr>
              <a:t>Datenquellen</a:t>
            </a:r>
            <a:r>
              <a:rPr lang="de-DE" sz="2100" dirty="0">
                <a:solidFill>
                  <a:srgbClr val="002060"/>
                </a:solidFill>
              </a:rPr>
              <a:t> der Sozialstrukturanalyse Deutschlands</a:t>
            </a:r>
            <a:r>
              <a:rPr lang="de-DE" sz="1013" dirty="0"/>
              <a:t>.</a:t>
            </a:r>
          </a:p>
          <a:p>
            <a:endParaRPr lang="de-DE" sz="1013" dirty="0"/>
          </a:p>
        </p:txBody>
      </p:sp>
    </p:spTree>
    <p:extLst>
      <p:ext uri="{BB962C8B-B14F-4D97-AF65-F5344CB8AC3E}">
        <p14:creationId xmlns:p14="http://schemas.microsoft.com/office/powerpoint/2010/main" val="39622586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96000"/>
            <a:ext cx="7560000" cy="468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ozialstruktur: Defini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8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835397"/>
            <a:ext cx="8208456" cy="347270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0" dirty="0"/>
              <a:t>Fuchs-Heinritz et al. (2007) </a:t>
            </a:r>
            <a:r>
              <a:rPr lang="de-DE" sz="1600" b="0" dirty="0">
                <a:highlight>
                  <a:srgbClr val="FFFF00"/>
                </a:highlight>
              </a:rPr>
              <a:t>DEF</a:t>
            </a:r>
            <a:r>
              <a:rPr lang="de-DE" sz="1600" b="0" dirty="0"/>
              <a:t>=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(1) die </a:t>
            </a:r>
            <a:r>
              <a:rPr lang="de-DE" sz="1800" dirty="0"/>
              <a:t>Struktur einer Gesellschaft oder</a:t>
            </a:r>
            <a:r>
              <a:rPr lang="de-DE" sz="1800" b="0" dirty="0"/>
              <a:t> allgemeiner eines </a:t>
            </a:r>
            <a:r>
              <a:rPr lang="de-DE" sz="1800" dirty="0"/>
              <a:t>sozialen System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/>
              <a:t>(2) </a:t>
            </a:r>
            <a:r>
              <a:rPr lang="de-DE" sz="1800" dirty="0"/>
              <a:t>Arrangement</a:t>
            </a:r>
            <a:r>
              <a:rPr lang="de-DE" sz="1800" b="0" dirty="0"/>
              <a:t> von Akteuren in institutionell</a:t>
            </a:r>
            <a:r>
              <a:rPr lang="de-DE" sz="1800" dirty="0"/>
              <a:t> geregelten Beziehungen</a:t>
            </a:r>
            <a:r>
              <a:rPr lang="de-DE" sz="1800" b="0" dirty="0"/>
              <a:t>, deren wichtigste </a:t>
            </a:r>
            <a:r>
              <a:rPr lang="de-DE" sz="1800" dirty="0"/>
              <a:t>Strukturvariablen</a:t>
            </a:r>
            <a:r>
              <a:rPr lang="de-DE" sz="1800" b="0" dirty="0"/>
              <a:t> </a:t>
            </a:r>
            <a:r>
              <a:rPr lang="de-DE" sz="1800" dirty="0"/>
              <a:t>Position, Rolle und Status </a:t>
            </a:r>
            <a:r>
              <a:rPr lang="de-DE" sz="1800" b="0" dirty="0"/>
              <a:t>sind (...)</a:t>
            </a:r>
          </a:p>
          <a:p>
            <a:pPr eaLnBrk="1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SzPct val="130000"/>
            </a:pPr>
            <a:endParaRPr lang="de-DE" altLang="de-DE" sz="1600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de-DE" sz="1800" b="0" dirty="0"/>
          </a:p>
          <a:p>
            <a:pPr>
              <a:lnSpc>
                <a:spcPct val="150000"/>
              </a:lnSpc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3" name="Inhaltsplatzhalter 5">
            <a:extLst>
              <a:ext uri="{FF2B5EF4-FFF2-40B4-BE49-F238E27FC236}">
                <a16:creationId xmlns:a16="http://schemas.microsoft.com/office/drawing/2014/main" id="{9E09FD2C-A829-395A-E897-6657A4F55A80}"/>
              </a:ext>
            </a:extLst>
          </p:cNvPr>
          <p:cNvSpPr txBox="1">
            <a:spLocks/>
          </p:cNvSpPr>
          <p:nvPr/>
        </p:nvSpPr>
        <p:spPr>
          <a:xfrm>
            <a:off x="576000" y="2335500"/>
            <a:ext cx="8352472" cy="23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+mj-lt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50" dirty="0"/>
              <a:t>Zergliederung</a:t>
            </a:r>
            <a:r>
              <a:rPr lang="de-DE" sz="1750" b="0" dirty="0"/>
              <a:t> der </a:t>
            </a:r>
            <a:r>
              <a:rPr lang="de-DE" sz="1750" dirty="0"/>
              <a:t>Gesellschaft in Teilbereich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50" b="0" dirty="0"/>
              <a:t>Untersucht 1) Gliederungen, 2) Wechselwirkungen und 3) Beziehung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750" b="0" dirty="0"/>
              <a:t>Beispiele: Gruppen</a:t>
            </a:r>
            <a:r>
              <a:rPr lang="de-DE" sz="1750" b="0" i="1" dirty="0"/>
              <a:t> (Studenten), </a:t>
            </a:r>
            <a:r>
              <a:rPr lang="de-DE" sz="1750" b="0" dirty="0"/>
              <a:t>Werte</a:t>
            </a:r>
            <a:r>
              <a:rPr lang="de-DE" sz="1750" b="0" i="1" dirty="0"/>
              <a:t> (Fleiß), </a:t>
            </a:r>
            <a:r>
              <a:rPr lang="de-DE" sz="1750" b="0" dirty="0"/>
              <a:t>Institutionen</a:t>
            </a:r>
            <a:r>
              <a:rPr lang="de-DE" sz="1750" b="0" i="1" dirty="0"/>
              <a:t> (Schulsystem)</a:t>
            </a:r>
          </a:p>
        </p:txBody>
      </p:sp>
    </p:spTree>
    <p:extLst>
      <p:ext uri="{BB962C8B-B14F-4D97-AF65-F5344CB8AC3E}">
        <p14:creationId xmlns:p14="http://schemas.microsoft.com/office/powerpoint/2010/main" val="1191324758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462" y="283500"/>
            <a:ext cx="8784520" cy="468000"/>
          </a:xfrm>
        </p:spPr>
        <p:txBody>
          <a:bodyPr/>
          <a:lstStyle/>
          <a:p>
            <a:r>
              <a:rPr lang="de-DE" sz="2800" b="0" dirty="0"/>
              <a:t>Datenarten und Datenquellen: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149A9D2-823C-2959-6654-07D87DE3C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915566"/>
            <a:ext cx="8035440" cy="1780594"/>
          </a:xfrm>
        </p:spPr>
        <p:txBody>
          <a:bodyPr numCol="2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Amtliche Daten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„von </a:t>
            </a:r>
            <a:r>
              <a:rPr lang="de-DE" sz="1800" dirty="0"/>
              <a:t>staatlicher Seite</a:t>
            </a:r>
            <a:r>
              <a:rPr lang="de-DE" sz="1800" b="0" dirty="0"/>
              <a:t>“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Nebenprodukte</a:t>
            </a:r>
            <a:r>
              <a:rPr lang="de-DE" sz="1800" b="0" dirty="0"/>
              <a:t> von Verwaltungen (Einwohnermeldeamtsdaten) oder  </a:t>
            </a:r>
            <a:r>
              <a:rPr lang="de-DE" sz="1800" dirty="0"/>
              <a:t>Erhebungen</a:t>
            </a:r>
            <a:r>
              <a:rPr lang="de-DE" sz="1800" b="0" dirty="0"/>
              <a:t> (Mikrozensus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Nicht-amtliche Dat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Personalakten</a:t>
            </a:r>
            <a:r>
              <a:rPr lang="de-DE" sz="1800" b="0" dirty="0"/>
              <a:t> aus </a:t>
            </a:r>
            <a:r>
              <a:rPr lang="de-DE" sz="1800" dirty="0"/>
              <a:t>Betrieben </a:t>
            </a:r>
            <a:r>
              <a:rPr lang="de-DE" sz="1800" b="0" dirty="0"/>
              <a:t>oder </a:t>
            </a:r>
            <a:r>
              <a:rPr lang="de-DE" sz="1800" dirty="0"/>
              <a:t>Umfragedaten</a:t>
            </a:r>
            <a:r>
              <a:rPr lang="de-DE" sz="1800" b="0" dirty="0"/>
              <a:t> (z.B. </a:t>
            </a:r>
            <a:r>
              <a:rPr lang="de-DE" sz="1800" b="0" dirty="0" err="1"/>
              <a:t>Allbus</a:t>
            </a:r>
            <a:r>
              <a:rPr lang="de-DE" sz="1800" b="0" dirty="0"/>
              <a:t>)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b="0" dirty="0">
                <a:sym typeface="Wingdings" panose="05000000000000000000" pitchFamily="2" charset="2"/>
              </a:rPr>
              <a:t> ob</a:t>
            </a:r>
            <a:r>
              <a:rPr lang="de-DE" sz="1800" b="0" dirty="0"/>
              <a:t>jektiv, unabhängig &amp; qualitativ hochwertige Da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522DDA5-D9CE-0DF5-DDEF-BE54E9ED6161}"/>
              </a:ext>
            </a:extLst>
          </p:cNvPr>
          <p:cNvSpPr txBox="1">
            <a:spLocks/>
          </p:cNvSpPr>
          <p:nvPr/>
        </p:nvSpPr>
        <p:spPr>
          <a:xfrm>
            <a:off x="450000" y="2696160"/>
            <a:ext cx="8035440" cy="1780594"/>
          </a:xfrm>
          <a:prstGeom prst="rect">
            <a:avLst/>
          </a:prstGeom>
        </p:spPr>
        <p:txBody>
          <a:bodyPr vert="horz" lIns="0" tIns="0" rIns="0" bIns="0" numCol="2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SzPct val="75000"/>
              <a:buFont typeface="Arial" panose="020B0604020202020204" pitchFamily="34" charset="0"/>
              <a:buNone/>
              <a:defRPr sz="15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+mj-lt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2340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Arial" panose="020B0604020202020204" pitchFamily="34" charset="0"/>
              <a:buNone/>
              <a:tabLst>
                <a:tab pos="234000" algn="l"/>
              </a:tabLst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solidFill>
                  <a:schemeClr val="accent2"/>
                </a:solidFill>
              </a:rPr>
              <a:t>Zwei Beispiele: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Zensus</a:t>
            </a:r>
            <a:r>
              <a:rPr lang="de-DE" sz="1800" b="0" dirty="0"/>
              <a:t>: 4% Bevölkerung - genaue Momentaufnahme – (nur) alle 10 Jahre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Mikrozensus</a:t>
            </a:r>
            <a:r>
              <a:rPr lang="de-DE" sz="1800" b="0" dirty="0"/>
              <a:t>: „kleiner Zensus“-     1% Bevölkerung – Jährlich- Entwicklungslinie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4017673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27</Words>
  <Application>Microsoft Office PowerPoint</Application>
  <PresentationFormat>Bildschirmpräsentation (16:9)</PresentationFormat>
  <Paragraphs>628</Paragraphs>
  <Slides>51</Slides>
  <Notes>2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1</vt:i4>
      </vt:variant>
    </vt:vector>
  </HeadingPairs>
  <TitlesOfParts>
    <vt:vector size="59" baseType="lpstr">
      <vt:lpstr>-apple-system</vt:lpstr>
      <vt:lpstr>Arial</vt:lpstr>
      <vt:lpstr>Calibri</vt:lpstr>
      <vt:lpstr>Calibri-Bold</vt:lpstr>
      <vt:lpstr>Courier New</vt:lpstr>
      <vt:lpstr>Segoe UI</vt:lpstr>
      <vt:lpstr>Wingdings</vt:lpstr>
      <vt:lpstr>PowerPoint Master RUB</vt:lpstr>
      <vt:lpstr>PowerPoint-Präsentation</vt:lpstr>
      <vt:lpstr>Grundlegende Infos:</vt:lpstr>
      <vt:lpstr>Themenblöcke:</vt:lpstr>
      <vt:lpstr> (1) Sozialstrukturanalyse der modernen Gesellschaft</vt:lpstr>
      <vt:lpstr>Moderne Gesellschaft</vt:lpstr>
      <vt:lpstr>Historische Verortung: Moderne </vt:lpstr>
      <vt:lpstr>  (2) Was ist Sozialstruktur und wie arbeitet die Sozialstrukturanalyse?</vt:lpstr>
      <vt:lpstr>Sozialstruktur: Definition</vt:lpstr>
      <vt:lpstr>Datenarten und Datenquellen:</vt:lpstr>
      <vt:lpstr>3) Ungleichheit(en) und Differenz: Gleich, ungleich oder anders?</vt:lpstr>
      <vt:lpstr>Gleichheit vs. soziale Ungleichheit</vt:lpstr>
      <vt:lpstr>(4) Die ‚großen drei‘ Ungleichheiten I: Klasse</vt:lpstr>
      <vt:lpstr>Klassenbegriff (Marx)</vt:lpstr>
      <vt:lpstr>Schichtbegriff (Bolte-Zwiebel)</vt:lpstr>
      <vt:lpstr>Milieubegriff (Sinus)</vt:lpstr>
      <vt:lpstr>Neuere Modelle: Sozialer Raum </vt:lpstr>
      <vt:lpstr>(5) Die ‚großen drei‘ Ungleichheiten I: Geschlecht</vt:lpstr>
      <vt:lpstr>Geschlecht: </vt:lpstr>
      <vt:lpstr>(6) Die ‚großen drei‘ Ungleichheiten III: ‚Rasse‘</vt:lpstr>
      <vt:lpstr>Rasse: </vt:lpstr>
      <vt:lpstr>(7) Intersektionalität als neues Paradigma der Ungleichheitsforschung</vt:lpstr>
      <vt:lpstr>Intersektionalität:</vt:lpstr>
      <vt:lpstr>(8) Sozialer Wandel: Definitionen und Dimensionen</vt:lpstr>
      <vt:lpstr>Sozialer Wandel:</vt:lpstr>
      <vt:lpstr>(9) Modernisierung: Konzept und Faktoren</vt:lpstr>
      <vt:lpstr>(10) Perspektiven auf Modernisierung I</vt:lpstr>
      <vt:lpstr>Modernisierungsbegriff:</vt:lpstr>
      <vt:lpstr>Modernisierungsbegriff:</vt:lpstr>
      <vt:lpstr>Modernisierungsbegriff:</vt:lpstr>
      <vt:lpstr>(11) Perspektiven auf Modernisierung I</vt:lpstr>
      <vt:lpstr>Modernisierungsbegriff:</vt:lpstr>
      <vt:lpstr>Modernisierungsbegriff:</vt:lpstr>
      <vt:lpstr>Modernisierungsbegriff:</vt:lpstr>
      <vt:lpstr>(12) Modernisierung: Ende und/oder Neubeginn – Fazit</vt:lpstr>
      <vt:lpstr>(13) Zeitgenössische Gesellschaftstypen: In welcher Gesellschaft leben wir?</vt:lpstr>
      <vt:lpstr>Gesellschaftsdiagnose:</vt:lpstr>
      <vt:lpstr>Drei Sektoren Hypothese:</vt:lpstr>
      <vt:lpstr>(14) Demographie: Fertilität, Mortalität und Migration</vt:lpstr>
      <vt:lpstr>Bevölkerung:</vt:lpstr>
      <vt:lpstr>(15) Lebensformen</vt:lpstr>
      <vt:lpstr>Lebensformen:</vt:lpstr>
      <vt:lpstr>Lebensformen: Familie</vt:lpstr>
      <vt:lpstr>(16) Bildung</vt:lpstr>
      <vt:lpstr>Bildung:</vt:lpstr>
      <vt:lpstr>Bildungssystem:</vt:lpstr>
      <vt:lpstr> Bildungsungleichheiten: Theorie Boudon</vt:lpstr>
      <vt:lpstr>(17) Arbeitsmarkt und Erwerbsstruktur</vt:lpstr>
      <vt:lpstr>Arbeit:</vt:lpstr>
      <vt:lpstr>(18) Armut</vt:lpstr>
      <vt:lpstr>Armut: Defini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3</cp:revision>
  <cp:lastPrinted>2022-04-21T15:49:35Z</cp:lastPrinted>
  <dcterms:created xsi:type="dcterms:W3CDTF">2020-06-22T16:14:58Z</dcterms:created>
  <dcterms:modified xsi:type="dcterms:W3CDTF">2023-02-07T10:32:01Z</dcterms:modified>
</cp:coreProperties>
</file>